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3.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3"/>
  </p:notesMasterIdLst>
  <p:sldIdLst>
    <p:sldId id="391" r:id="rId4"/>
    <p:sldId id="420" r:id="rId6"/>
    <p:sldId id="412" r:id="rId9"/>
    <p:sldId id="302" r:id="rId12"/>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31" autoAdjust="0"/>
    <p:restoredTop sz="94632" autoAdjust="0"/>
  </p:normalViewPr>
  <p:slideViewPr>
    <p:cSldViewPr snapToGrid="0" snapToObjects="1">
      <p:cViewPr>
        <p:scale>
          <a:sx n="100" d="100"/>
          <a:sy n="100" d="100"/>
        </p:scale>
        <p:origin x="-348" y="-282"/>
      </p:cViewPr>
      <p:guideLst>
        <p:guide orient="horz" pos="4256"/>
        <p:guide orient="horz" pos="251"/>
        <p:guide orient="horz" pos="1157"/>
        <p:guide orient="horz" pos="3989"/>
        <p:guide orient="horz" pos="445"/>
        <p:guide orient="horz" pos="4142"/>
        <p:guide orient="horz" pos="3696"/>
        <p:guide orient="horz" pos="2552"/>
        <p:guide pos="3250"/>
        <p:guide pos="6002"/>
        <p:guide pos="2982"/>
        <p:guide pos="228"/>
        <p:guide pos="4238"/>
        <p:guide pos="4822"/>
        <p:guide pos="5416"/>
        <p:guide pos="225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notesMaster" Target="notesMasters/notesMaster1.xml"/><Relationship Id="rId18"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tableStyles" Target="tableStyles.xml"/><Relationship Id="rId16" Type="http://schemas.openxmlformats.org/officeDocument/2006/relationships/theme" Target="theme/theme1.xml"/><Relationship Id="rId2" Type="http://schemas.openxmlformats.org/officeDocument/2006/relationships/slideMaster" Target="slideMasters/slideMaster2.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viewProps" Target="viewProps.xml"/><Relationship Id="rId19" Type="http://schemas.openxmlformats.org/officeDocument/2006/relationships/customXml" Target="../customXml/item2.xml"/><Relationship Id="rId1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Relationships xmlns="http://schemas.openxmlformats.org/package/2006/relationships">
  <Relationship Id="rId1" Type="http://schemas.openxmlformats.org/officeDocument/2006/relationships/package" Target="../embeddings/Microsoft_Office_Excel_Worksheet1.xlsx"/>
</Relationships>

</file>

<file path=ppt/charts/_rels/chart2.xml.rels><?xml version="1.0" encoding="UTF-8"?>

<Relationships xmlns="http://schemas.openxmlformats.org/package/2006/relationships">
  <Relationship Id="rId1" Type="http://schemas.openxmlformats.org/officeDocument/2006/relationships/package" Target="../embeddings/Microsoft_Office_Excel_Worksheet2.xlsx"/>
</Relationships>

</file>

<file path=ppt/charts/_rels/chart3.xml.rels><?xml version="1.0" encoding="UTF-8"?>

<Relationships xmlns="http://schemas.openxmlformats.org/package/2006/relationships">
  <Relationship Id="rId1" Type="http://schemas.openxmlformats.org/officeDocument/2006/relationships/package" Target="../embeddings/Microsoft_Office_Excel_Worksheet3.xlsx"/>
</Relationships>

</file>

<file path=ppt/charts/_rels/chart4.xml.rels><?xml version="1.0" encoding="UTF-8"?>

<Relationships xmlns="http://schemas.openxmlformats.org/package/2006/relationships">
  <Relationship Id="rId1" Type="http://schemas.openxmlformats.org/officeDocument/2006/relationships/package" Target="../embeddings/Microsoft_Office_Excel_Worksheet4.xlsx"/>
</Relationships>

</file>

<file path=ppt/charts/_rels/chart5.xml.rels><?xml version="1.0" encoding="UTF-8"?>

<Relationships xmlns="http://schemas.openxmlformats.org/package/2006/relationships">
  <Relationship Id="rId1" Type="http://schemas.openxmlformats.org/officeDocument/2006/relationships/package" Target="../embeddings/Microsoft_Office_Excel_Worksheet5.xlsx"/>
</Relationships>

</file>

<file path=ppt/charts/_rels/chart6.xml.rels><?xml version="1.0" encoding="UTF-8"?>

<Relationships xmlns="http://schemas.openxmlformats.org/package/2006/relationships">
  <Relationship Id="rId1" Type="http://schemas.openxmlformats.org/officeDocument/2006/relationships/package" Target="../embeddings/Microsoft_Office_Excel_Worksheet6.xlsx"/>
</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6.1803595305303834E-2"/>
          <c:y val="5.818803899512575E-2"/>
          <c:w val="0.93086392240802185"/>
          <c:h val="0.85010748656418289"/>
        </c:manualLayout>
      </c:layout>
      <c:lineChart>
        <c:grouping val="standard"/>
        <c:ser>
          <c:idx val="0"/>
          <c:order val="0"/>
          <c:tx>
            <c:strRef>
              <c:f>Sheet0!$B$1</c:f>
              <c:strCache>
                <c:ptCount val="1"/>
                <c:pt idx="0">
                  <c:v/>
                </c:pt>
              </c:strCache>
            </c:strRef>
          </c:tx>
          <c:spPr>
            <a:ln w="19050">
              <a:solidFill>
                <a:schemeClr val="accent1"/>
              </a:solidFill>
              <a:prstDash val="solid"/>
            </a:ln>
          </c:spPr>
          <c:marker>
            <c:symbol val="none"/>
          </c:marker>
          <c:cat>
            <c:strRef>
              <c:f>Sheet0!$A$2:$A$512</c:f>
              <c:strCache>
                <c:ptCount val="511"/>
                <c:pt idx="0">
                  <c:v>Aug-13</c:v>
                </c:pt>
                <c:pt idx="1">
                  <c:v>Sep-13</c:v>
                </c:pt>
                <c:pt idx="2">
                  <c:v>Sep-13</c:v>
                </c:pt>
                <c:pt idx="3">
                  <c:v>Sep-13</c:v>
                </c:pt>
                <c:pt idx="4">
                  <c:v>Sep-13</c:v>
                </c:pt>
                <c:pt idx="5">
                  <c:v>Sep-13</c:v>
                </c:pt>
                <c:pt idx="6">
                  <c:v>Sep-13</c:v>
                </c:pt>
                <c:pt idx="7">
                  <c:v>Sep-13</c:v>
                </c:pt>
                <c:pt idx="8">
                  <c:v>Sep-13</c:v>
                </c:pt>
                <c:pt idx="9">
                  <c:v>Sep-13</c:v>
                </c:pt>
                <c:pt idx="10">
                  <c:v>Sep-13</c:v>
                </c:pt>
                <c:pt idx="11">
                  <c:v>Sep-13</c:v>
                </c:pt>
                <c:pt idx="12">
                  <c:v>Sep-13</c:v>
                </c:pt>
                <c:pt idx="13">
                  <c:v>Sep-13</c:v>
                </c:pt>
                <c:pt idx="14">
                  <c:v>Sep-13</c:v>
                </c:pt>
                <c:pt idx="15">
                  <c:v>Sep-13</c:v>
                </c:pt>
                <c:pt idx="16">
                  <c:v>Sep-13</c:v>
                </c:pt>
                <c:pt idx="17">
                  <c:v>Sep-13</c:v>
                </c:pt>
                <c:pt idx="18">
                  <c:v>Sep-13</c:v>
                </c:pt>
                <c:pt idx="19">
                  <c:v>Sep-13</c:v>
                </c:pt>
                <c:pt idx="20">
                  <c:v>Sep-13</c:v>
                </c:pt>
                <c:pt idx="21">
                  <c:v>Sep-13</c:v>
                </c:pt>
                <c:pt idx="22">
                  <c:v>Oct-13</c:v>
                </c:pt>
                <c:pt idx="23">
                  <c:v>Oct-13</c:v>
                </c:pt>
                <c:pt idx="24">
                  <c:v>Oct-13</c:v>
                </c:pt>
                <c:pt idx="25">
                  <c:v>Oct-13</c:v>
                </c:pt>
                <c:pt idx="26">
                  <c:v>Oct-13</c:v>
                </c:pt>
                <c:pt idx="27">
                  <c:v>Oct-13</c:v>
                </c:pt>
                <c:pt idx="28">
                  <c:v>Oct-13</c:v>
                </c:pt>
                <c:pt idx="29">
                  <c:v>Oct-13</c:v>
                </c:pt>
                <c:pt idx="30">
                  <c:v>Oct-13</c:v>
                </c:pt>
                <c:pt idx="31">
                  <c:v>Oct-13</c:v>
                </c:pt>
                <c:pt idx="32">
                  <c:v>Oct-13</c:v>
                </c:pt>
                <c:pt idx="33">
                  <c:v>Oct-13</c:v>
                </c:pt>
                <c:pt idx="34">
                  <c:v>Oct-13</c:v>
                </c:pt>
                <c:pt idx="35">
                  <c:v>Oct-13</c:v>
                </c:pt>
                <c:pt idx="36">
                  <c:v>Oct-13</c:v>
                </c:pt>
                <c:pt idx="37">
                  <c:v>Oct-13</c:v>
                </c:pt>
                <c:pt idx="38">
                  <c:v>Oct-13</c:v>
                </c:pt>
                <c:pt idx="39">
                  <c:v>Oct-13</c:v>
                </c:pt>
                <c:pt idx="40">
                  <c:v>Oct-13</c:v>
                </c:pt>
                <c:pt idx="41">
                  <c:v>Oct-13</c:v>
                </c:pt>
                <c:pt idx="42">
                  <c:v>Oct-13</c:v>
                </c:pt>
                <c:pt idx="43">
                  <c:v>Oct-13</c:v>
                </c:pt>
                <c:pt idx="44">
                  <c:v>Oct-13</c:v>
                </c:pt>
                <c:pt idx="45">
                  <c:v>Nov-13</c:v>
                </c:pt>
                <c:pt idx="46">
                  <c:v>Nov-13</c:v>
                </c:pt>
                <c:pt idx="47">
                  <c:v>Nov-13</c:v>
                </c:pt>
                <c:pt idx="48">
                  <c:v>Nov-13</c:v>
                </c:pt>
                <c:pt idx="49">
                  <c:v>Nov-13</c:v>
                </c:pt>
                <c:pt idx="50">
                  <c:v>Nov-13</c:v>
                </c:pt>
                <c:pt idx="51">
                  <c:v>Nov-13</c:v>
                </c:pt>
                <c:pt idx="52">
                  <c:v>Nov-13</c:v>
                </c:pt>
                <c:pt idx="53">
                  <c:v>Nov-13</c:v>
                </c:pt>
                <c:pt idx="54">
                  <c:v>Nov-13</c:v>
                </c:pt>
                <c:pt idx="55">
                  <c:v>Nov-13</c:v>
                </c:pt>
                <c:pt idx="56">
                  <c:v>Nov-13</c:v>
                </c:pt>
                <c:pt idx="57">
                  <c:v>Nov-13</c:v>
                </c:pt>
                <c:pt idx="58">
                  <c:v>Nov-13</c:v>
                </c:pt>
                <c:pt idx="59">
                  <c:v>Nov-13</c:v>
                </c:pt>
                <c:pt idx="60">
                  <c:v>Nov-13</c:v>
                </c:pt>
                <c:pt idx="61">
                  <c:v>Nov-13</c:v>
                </c:pt>
                <c:pt idx="62">
                  <c:v>Nov-13</c:v>
                </c:pt>
                <c:pt idx="63">
                  <c:v>Nov-13</c:v>
                </c:pt>
                <c:pt idx="64">
                  <c:v>Nov-13</c:v>
                </c:pt>
                <c:pt idx="65">
                  <c:v>Nov-13</c:v>
                </c:pt>
                <c:pt idx="66">
                  <c:v>Dec-13</c:v>
                </c:pt>
                <c:pt idx="67">
                  <c:v>Dec-13</c:v>
                </c:pt>
                <c:pt idx="68">
                  <c:v>Dec-13</c:v>
                </c:pt>
                <c:pt idx="69">
                  <c:v>Dec-13</c:v>
                </c:pt>
                <c:pt idx="70">
                  <c:v>Dec-13</c:v>
                </c:pt>
                <c:pt idx="71">
                  <c:v>Dec-13</c:v>
                </c:pt>
                <c:pt idx="72">
                  <c:v>Dec-13</c:v>
                </c:pt>
                <c:pt idx="73">
                  <c:v>Dec-13</c:v>
                </c:pt>
                <c:pt idx="74">
                  <c:v>Dec-13</c:v>
                </c:pt>
                <c:pt idx="75">
                  <c:v>Dec-13</c:v>
                </c:pt>
                <c:pt idx="76">
                  <c:v>Dec-13</c:v>
                </c:pt>
                <c:pt idx="77">
                  <c:v>Dec-13</c:v>
                </c:pt>
                <c:pt idx="78">
                  <c:v>Dec-13</c:v>
                </c:pt>
                <c:pt idx="79">
                  <c:v>Dec-13</c:v>
                </c:pt>
                <c:pt idx="80">
                  <c:v>Dec-13</c:v>
                </c:pt>
                <c:pt idx="81">
                  <c:v>Dec-13</c:v>
                </c:pt>
                <c:pt idx="82">
                  <c:v>Dec-13</c:v>
                </c:pt>
                <c:pt idx="83">
                  <c:v>Dec-13</c:v>
                </c:pt>
                <c:pt idx="84">
                  <c:v>Dec-13</c:v>
                </c:pt>
                <c:pt idx="85">
                  <c:v>Dec-13</c:v>
                </c:pt>
                <c:pt idx="86">
                  <c:v>Jan-14</c:v>
                </c:pt>
                <c:pt idx="87">
                  <c:v>Jan-14</c:v>
                </c:pt>
                <c:pt idx="88">
                  <c:v>Jan-14</c:v>
                </c:pt>
                <c:pt idx="89">
                  <c:v>Jan-14</c:v>
                </c:pt>
                <c:pt idx="90">
                  <c:v>Jan-14</c:v>
                </c:pt>
                <c:pt idx="91">
                  <c:v>Jan-14</c:v>
                </c:pt>
                <c:pt idx="92">
                  <c:v>Jan-14</c:v>
                </c:pt>
                <c:pt idx="93">
                  <c:v>Jan-14</c:v>
                </c:pt>
                <c:pt idx="94">
                  <c:v>Jan-14</c:v>
                </c:pt>
                <c:pt idx="95">
                  <c:v>Jan-14</c:v>
                </c:pt>
                <c:pt idx="96">
                  <c:v>Jan-14</c:v>
                </c:pt>
                <c:pt idx="97">
                  <c:v>Jan-14</c:v>
                </c:pt>
                <c:pt idx="98">
                  <c:v>Jan-14</c:v>
                </c:pt>
                <c:pt idx="99">
                  <c:v>Jan-14</c:v>
                </c:pt>
                <c:pt idx="100">
                  <c:v>Jan-14</c:v>
                </c:pt>
                <c:pt idx="101">
                  <c:v>Jan-14</c:v>
                </c:pt>
                <c:pt idx="102">
                  <c:v>Jan-14</c:v>
                </c:pt>
                <c:pt idx="103">
                  <c:v>Jan-14</c:v>
                </c:pt>
                <c:pt idx="104">
                  <c:v>Jan-14</c:v>
                </c:pt>
                <c:pt idx="105">
                  <c:v>Jan-14</c:v>
                </c:pt>
                <c:pt idx="106">
                  <c:v>Jan-14</c:v>
                </c:pt>
                <c:pt idx="107">
                  <c:v>Jan-14</c:v>
                </c:pt>
                <c:pt idx="108">
                  <c:v>Feb-14</c:v>
                </c:pt>
                <c:pt idx="109">
                  <c:v>Feb-14</c:v>
                </c:pt>
                <c:pt idx="110">
                  <c:v>Feb-14</c:v>
                </c:pt>
                <c:pt idx="111">
                  <c:v>Feb-14</c:v>
                </c:pt>
                <c:pt idx="112">
                  <c:v>Feb-14</c:v>
                </c:pt>
                <c:pt idx="113">
                  <c:v>Feb-14</c:v>
                </c:pt>
                <c:pt idx="114">
                  <c:v>Feb-14</c:v>
                </c:pt>
                <c:pt idx="115">
                  <c:v>Feb-14</c:v>
                </c:pt>
                <c:pt idx="116">
                  <c:v>Feb-14</c:v>
                </c:pt>
                <c:pt idx="117">
                  <c:v>Feb-14</c:v>
                </c:pt>
                <c:pt idx="118">
                  <c:v>Feb-14</c:v>
                </c:pt>
                <c:pt idx="119">
                  <c:v>Feb-14</c:v>
                </c:pt>
                <c:pt idx="120">
                  <c:v>Feb-14</c:v>
                </c:pt>
                <c:pt idx="121">
                  <c:v>Feb-14</c:v>
                </c:pt>
                <c:pt idx="122">
                  <c:v>Feb-14</c:v>
                </c:pt>
                <c:pt idx="123">
                  <c:v>Feb-14</c:v>
                </c:pt>
                <c:pt idx="124">
                  <c:v>Feb-14</c:v>
                </c:pt>
                <c:pt idx="125">
                  <c:v>Feb-14</c:v>
                </c:pt>
                <c:pt idx="126">
                  <c:v>Feb-14</c:v>
                </c:pt>
                <c:pt idx="127">
                  <c:v>Feb-14</c:v>
                </c:pt>
                <c:pt idx="128">
                  <c:v>Mar-14</c:v>
                </c:pt>
                <c:pt idx="129">
                  <c:v>Mar-14</c:v>
                </c:pt>
                <c:pt idx="130">
                  <c:v>Mar-14</c:v>
                </c:pt>
                <c:pt idx="131">
                  <c:v>Mar-14</c:v>
                </c:pt>
                <c:pt idx="132">
                  <c:v>Mar-14</c:v>
                </c:pt>
                <c:pt idx="133">
                  <c:v>Mar-14</c:v>
                </c:pt>
                <c:pt idx="134">
                  <c:v>Mar-14</c:v>
                </c:pt>
                <c:pt idx="135">
                  <c:v>Mar-14</c:v>
                </c:pt>
                <c:pt idx="136">
                  <c:v>Mar-14</c:v>
                </c:pt>
                <c:pt idx="137">
                  <c:v>Mar-14</c:v>
                </c:pt>
                <c:pt idx="138">
                  <c:v>Mar-14</c:v>
                </c:pt>
                <c:pt idx="139">
                  <c:v>Mar-14</c:v>
                </c:pt>
                <c:pt idx="140">
                  <c:v>Mar-14</c:v>
                </c:pt>
                <c:pt idx="141">
                  <c:v>Mar-14</c:v>
                </c:pt>
                <c:pt idx="142">
                  <c:v>Mar-14</c:v>
                </c:pt>
                <c:pt idx="143">
                  <c:v>Mar-14</c:v>
                </c:pt>
                <c:pt idx="144">
                  <c:v>Mar-14</c:v>
                </c:pt>
                <c:pt idx="145">
                  <c:v>Mar-14</c:v>
                </c:pt>
                <c:pt idx="146">
                  <c:v>Mar-14</c:v>
                </c:pt>
                <c:pt idx="147">
                  <c:v>Mar-14</c:v>
                </c:pt>
                <c:pt idx="148">
                  <c:v>Mar-14</c:v>
                </c:pt>
                <c:pt idx="149">
                  <c:v>Apr-14</c:v>
                </c:pt>
                <c:pt idx="150">
                  <c:v>Apr-14</c:v>
                </c:pt>
                <c:pt idx="151">
                  <c:v>Apr-14</c:v>
                </c:pt>
                <c:pt idx="152">
                  <c:v>Apr-14</c:v>
                </c:pt>
                <c:pt idx="153">
                  <c:v>Apr-14</c:v>
                </c:pt>
                <c:pt idx="154">
                  <c:v>Apr-14</c:v>
                </c:pt>
                <c:pt idx="155">
                  <c:v>Apr-14</c:v>
                </c:pt>
                <c:pt idx="156">
                  <c:v>Apr-14</c:v>
                </c:pt>
                <c:pt idx="157">
                  <c:v>Apr-14</c:v>
                </c:pt>
                <c:pt idx="158">
                  <c:v>Apr-14</c:v>
                </c:pt>
                <c:pt idx="159">
                  <c:v>Apr-14</c:v>
                </c:pt>
                <c:pt idx="160">
                  <c:v>Apr-14</c:v>
                </c:pt>
                <c:pt idx="161">
                  <c:v>Apr-14</c:v>
                </c:pt>
                <c:pt idx="162">
                  <c:v>Apr-14</c:v>
                </c:pt>
                <c:pt idx="163">
                  <c:v>Apr-14</c:v>
                </c:pt>
                <c:pt idx="164">
                  <c:v>Apr-14</c:v>
                </c:pt>
                <c:pt idx="165">
                  <c:v>Apr-14</c:v>
                </c:pt>
                <c:pt idx="166">
                  <c:v>Apr-14</c:v>
                </c:pt>
                <c:pt idx="167">
                  <c:v>Apr-14</c:v>
                </c:pt>
                <c:pt idx="168">
                  <c:v>Apr-14</c:v>
                </c:pt>
                <c:pt idx="169">
                  <c:v>May-14</c:v>
                </c:pt>
                <c:pt idx="170">
                  <c:v>May-14</c:v>
                </c:pt>
                <c:pt idx="171">
                  <c:v>May-14</c:v>
                </c:pt>
                <c:pt idx="172">
                  <c:v>May-14</c:v>
                </c:pt>
                <c:pt idx="173">
                  <c:v>May-14</c:v>
                </c:pt>
                <c:pt idx="174">
                  <c:v>May-14</c:v>
                </c:pt>
                <c:pt idx="175">
                  <c:v>May-14</c:v>
                </c:pt>
                <c:pt idx="176">
                  <c:v>May-14</c:v>
                </c:pt>
                <c:pt idx="177">
                  <c:v>May-14</c:v>
                </c:pt>
                <c:pt idx="178">
                  <c:v>May-14</c:v>
                </c:pt>
                <c:pt idx="179">
                  <c:v>May-14</c:v>
                </c:pt>
                <c:pt idx="180">
                  <c:v>May-14</c:v>
                </c:pt>
                <c:pt idx="181">
                  <c:v>May-14</c:v>
                </c:pt>
                <c:pt idx="182">
                  <c:v>May-14</c:v>
                </c:pt>
                <c:pt idx="183">
                  <c:v>May-14</c:v>
                </c:pt>
                <c:pt idx="184">
                  <c:v>May-14</c:v>
                </c:pt>
                <c:pt idx="185">
                  <c:v>May-14</c:v>
                </c:pt>
                <c:pt idx="186">
                  <c:v>May-14</c:v>
                </c:pt>
                <c:pt idx="187">
                  <c:v>May-14</c:v>
                </c:pt>
                <c:pt idx="188">
                  <c:v>May-14</c:v>
                </c:pt>
                <c:pt idx="189">
                  <c:v>May-14</c:v>
                </c:pt>
                <c:pt idx="190">
                  <c:v>May-14</c:v>
                </c:pt>
                <c:pt idx="191">
                  <c:v>Jun-14</c:v>
                </c:pt>
                <c:pt idx="192">
                  <c:v>Jun-14</c:v>
                </c:pt>
                <c:pt idx="193">
                  <c:v>Jun-14</c:v>
                </c:pt>
                <c:pt idx="194">
                  <c:v>Jun-14</c:v>
                </c:pt>
                <c:pt idx="195">
                  <c:v>Jun-14</c:v>
                </c:pt>
                <c:pt idx="196">
                  <c:v>Jun-14</c:v>
                </c:pt>
                <c:pt idx="197">
                  <c:v>Jun-14</c:v>
                </c:pt>
                <c:pt idx="198">
                  <c:v>Jun-14</c:v>
                </c:pt>
                <c:pt idx="199">
                  <c:v>Jun-14</c:v>
                </c:pt>
                <c:pt idx="200">
                  <c:v>Jun-14</c:v>
                </c:pt>
                <c:pt idx="201">
                  <c:v>Jun-14</c:v>
                </c:pt>
                <c:pt idx="202">
                  <c:v>Jun-14</c:v>
                </c:pt>
                <c:pt idx="203">
                  <c:v>Jun-14</c:v>
                </c:pt>
                <c:pt idx="204">
                  <c:v>Jun-14</c:v>
                </c:pt>
                <c:pt idx="205">
                  <c:v>Jun-14</c:v>
                </c:pt>
                <c:pt idx="206">
                  <c:v>Jun-14</c:v>
                </c:pt>
                <c:pt idx="207">
                  <c:v>Jun-14</c:v>
                </c:pt>
                <c:pt idx="208">
                  <c:v>Jun-14</c:v>
                </c:pt>
                <c:pt idx="209">
                  <c:v>Jun-14</c:v>
                </c:pt>
                <c:pt idx="210">
                  <c:v>Jun-14</c:v>
                </c:pt>
                <c:pt idx="211">
                  <c:v>Jun-14</c:v>
                </c:pt>
                <c:pt idx="212">
                  <c:v>Jul-14</c:v>
                </c:pt>
                <c:pt idx="213">
                  <c:v>Jul-14</c:v>
                </c:pt>
                <c:pt idx="214">
                  <c:v>Jul-14</c:v>
                </c:pt>
                <c:pt idx="215">
                  <c:v>Jul-14</c:v>
                </c:pt>
                <c:pt idx="216">
                  <c:v>Jul-14</c:v>
                </c:pt>
                <c:pt idx="217">
                  <c:v>Jul-14</c:v>
                </c:pt>
                <c:pt idx="218">
                  <c:v>Jul-14</c:v>
                </c:pt>
                <c:pt idx="219">
                  <c:v>Jul-14</c:v>
                </c:pt>
                <c:pt idx="220">
                  <c:v>Jul-14</c:v>
                </c:pt>
                <c:pt idx="221">
                  <c:v>Jul-14</c:v>
                </c:pt>
                <c:pt idx="222">
                  <c:v>Jul-14</c:v>
                </c:pt>
                <c:pt idx="223">
                  <c:v>Jul-14</c:v>
                </c:pt>
                <c:pt idx="224">
                  <c:v>Jul-14</c:v>
                </c:pt>
                <c:pt idx="225">
                  <c:v>Jul-14</c:v>
                </c:pt>
                <c:pt idx="226">
                  <c:v>Jul-14</c:v>
                </c:pt>
                <c:pt idx="227">
                  <c:v>Jul-14</c:v>
                </c:pt>
                <c:pt idx="228">
                  <c:v>Jul-14</c:v>
                </c:pt>
                <c:pt idx="229">
                  <c:v>Jul-14</c:v>
                </c:pt>
                <c:pt idx="230">
                  <c:v>Jul-14</c:v>
                </c:pt>
                <c:pt idx="231">
                  <c:v>Jul-14</c:v>
                </c:pt>
                <c:pt idx="232">
                  <c:v>Jul-14</c:v>
                </c:pt>
                <c:pt idx="233">
                  <c:v>Jul-14</c:v>
                </c:pt>
                <c:pt idx="234">
                  <c:v>Jul-14</c:v>
                </c:pt>
                <c:pt idx="235">
                  <c:v>Aug-14</c:v>
                </c:pt>
                <c:pt idx="236">
                  <c:v>Aug-14</c:v>
                </c:pt>
                <c:pt idx="237">
                  <c:v>Aug-14</c:v>
                </c:pt>
                <c:pt idx="238">
                  <c:v>Aug-14</c:v>
                </c:pt>
                <c:pt idx="239">
                  <c:v>Aug-14</c:v>
                </c:pt>
                <c:pt idx="240">
                  <c:v>Aug-14</c:v>
                </c:pt>
                <c:pt idx="241">
                  <c:v>Aug-14</c:v>
                </c:pt>
                <c:pt idx="242">
                  <c:v>Aug-14</c:v>
                </c:pt>
                <c:pt idx="243">
                  <c:v>Aug-14</c:v>
                </c:pt>
                <c:pt idx="244">
                  <c:v>Aug-14</c:v>
                </c:pt>
                <c:pt idx="245">
                  <c:v>Aug-14</c:v>
                </c:pt>
                <c:pt idx="246">
                  <c:v>Aug-14</c:v>
                </c:pt>
                <c:pt idx="247">
                  <c:v>Aug-14</c:v>
                </c:pt>
                <c:pt idx="248">
                  <c:v>Aug-14</c:v>
                </c:pt>
                <c:pt idx="249">
                  <c:v>Aug-14</c:v>
                </c:pt>
                <c:pt idx="250">
                  <c:v>Aug-14</c:v>
                </c:pt>
                <c:pt idx="251">
                  <c:v>Aug-14</c:v>
                </c:pt>
                <c:pt idx="252">
                  <c:v>Aug-14</c:v>
                </c:pt>
                <c:pt idx="253">
                  <c:v>Aug-14</c:v>
                </c:pt>
                <c:pt idx="254">
                  <c:v>Aug-14</c:v>
                </c:pt>
                <c:pt idx="255">
                  <c:v>Aug-14</c:v>
                </c:pt>
                <c:pt idx="256">
                  <c:v>Sep-14</c:v>
                </c:pt>
                <c:pt idx="257">
                  <c:v>Sep-14</c:v>
                </c:pt>
                <c:pt idx="258">
                  <c:v>Sep-14</c:v>
                </c:pt>
                <c:pt idx="259">
                  <c:v>Sep-14</c:v>
                </c:pt>
                <c:pt idx="260">
                  <c:v>Sep-14</c:v>
                </c:pt>
                <c:pt idx="261">
                  <c:v>Sep-14</c:v>
                </c:pt>
                <c:pt idx="262">
                  <c:v>Sep-14</c:v>
                </c:pt>
                <c:pt idx="263">
                  <c:v>Sep-14</c:v>
                </c:pt>
                <c:pt idx="264">
                  <c:v>Sep-14</c:v>
                </c:pt>
                <c:pt idx="265">
                  <c:v>Sep-14</c:v>
                </c:pt>
                <c:pt idx="266">
                  <c:v>Sep-14</c:v>
                </c:pt>
                <c:pt idx="267">
                  <c:v>Sep-14</c:v>
                </c:pt>
                <c:pt idx="268">
                  <c:v>Sep-14</c:v>
                </c:pt>
                <c:pt idx="269">
                  <c:v>Sep-14</c:v>
                </c:pt>
                <c:pt idx="270">
                  <c:v>Sep-14</c:v>
                </c:pt>
                <c:pt idx="271">
                  <c:v>Sep-14</c:v>
                </c:pt>
                <c:pt idx="272">
                  <c:v>Sep-14</c:v>
                </c:pt>
                <c:pt idx="273">
                  <c:v>Sep-14</c:v>
                </c:pt>
                <c:pt idx="274">
                  <c:v>Sep-14</c:v>
                </c:pt>
                <c:pt idx="275">
                  <c:v>Sep-14</c:v>
                </c:pt>
                <c:pt idx="276">
                  <c:v>Sep-14</c:v>
                </c:pt>
                <c:pt idx="277">
                  <c:v>Sep-14</c:v>
                </c:pt>
                <c:pt idx="278">
                  <c:v>Oct-14</c:v>
                </c:pt>
                <c:pt idx="279">
                  <c:v>Oct-14</c:v>
                </c:pt>
                <c:pt idx="280">
                  <c:v>Oct-14</c:v>
                </c:pt>
                <c:pt idx="281">
                  <c:v>Oct-14</c:v>
                </c:pt>
                <c:pt idx="282">
                  <c:v>Oct-14</c:v>
                </c:pt>
                <c:pt idx="283">
                  <c:v>Oct-14</c:v>
                </c:pt>
                <c:pt idx="284">
                  <c:v>Oct-14</c:v>
                </c:pt>
                <c:pt idx="285">
                  <c:v>Oct-14</c:v>
                </c:pt>
                <c:pt idx="286">
                  <c:v>Oct-14</c:v>
                </c:pt>
                <c:pt idx="287">
                  <c:v>Oct-14</c:v>
                </c:pt>
                <c:pt idx="288">
                  <c:v>Oct-14</c:v>
                </c:pt>
                <c:pt idx="289">
                  <c:v>Oct-14</c:v>
                </c:pt>
                <c:pt idx="290">
                  <c:v>Oct-14</c:v>
                </c:pt>
                <c:pt idx="291">
                  <c:v>Oct-14</c:v>
                </c:pt>
                <c:pt idx="292">
                  <c:v>Oct-14</c:v>
                </c:pt>
                <c:pt idx="293">
                  <c:v>Oct-14</c:v>
                </c:pt>
                <c:pt idx="294">
                  <c:v>Oct-14</c:v>
                </c:pt>
                <c:pt idx="295">
                  <c:v>Oct-14</c:v>
                </c:pt>
                <c:pt idx="296">
                  <c:v>Oct-14</c:v>
                </c:pt>
                <c:pt idx="297">
                  <c:v>Oct-14</c:v>
                </c:pt>
                <c:pt idx="298">
                  <c:v>Oct-14</c:v>
                </c:pt>
                <c:pt idx="299">
                  <c:v>Oct-14</c:v>
                </c:pt>
                <c:pt idx="300">
                  <c:v>Oct-14</c:v>
                </c:pt>
                <c:pt idx="301">
                  <c:v>Nov-14</c:v>
                </c:pt>
                <c:pt idx="302">
                  <c:v>Nov-14</c:v>
                </c:pt>
                <c:pt idx="303">
                  <c:v>Nov-14</c:v>
                </c:pt>
                <c:pt idx="304">
                  <c:v>Nov-14</c:v>
                </c:pt>
                <c:pt idx="305">
                  <c:v>Nov-14</c:v>
                </c:pt>
                <c:pt idx="306">
                  <c:v>Nov-14</c:v>
                </c:pt>
                <c:pt idx="307">
                  <c:v>Nov-14</c:v>
                </c:pt>
                <c:pt idx="308">
                  <c:v>Nov-14</c:v>
                </c:pt>
                <c:pt idx="309">
                  <c:v>Nov-14</c:v>
                </c:pt>
                <c:pt idx="310">
                  <c:v>Nov-14</c:v>
                </c:pt>
                <c:pt idx="311">
                  <c:v>Nov-14</c:v>
                </c:pt>
                <c:pt idx="312">
                  <c:v>Nov-14</c:v>
                </c:pt>
                <c:pt idx="313">
                  <c:v>Nov-14</c:v>
                </c:pt>
                <c:pt idx="314">
                  <c:v>Nov-14</c:v>
                </c:pt>
                <c:pt idx="315">
                  <c:v>Nov-14</c:v>
                </c:pt>
                <c:pt idx="316">
                  <c:v>Nov-14</c:v>
                </c:pt>
                <c:pt idx="317">
                  <c:v>Nov-14</c:v>
                </c:pt>
                <c:pt idx="318">
                  <c:v>Nov-14</c:v>
                </c:pt>
                <c:pt idx="319">
                  <c:v>Nov-14</c:v>
                </c:pt>
                <c:pt idx="320">
                  <c:v>Nov-14</c:v>
                </c:pt>
                <c:pt idx="321">
                  <c:v>Dec-14</c:v>
                </c:pt>
                <c:pt idx="322">
                  <c:v>Dec-14</c:v>
                </c:pt>
                <c:pt idx="323">
                  <c:v>Dec-14</c:v>
                </c:pt>
                <c:pt idx="324">
                  <c:v>Dec-14</c:v>
                </c:pt>
                <c:pt idx="325">
                  <c:v>Dec-14</c:v>
                </c:pt>
                <c:pt idx="326">
                  <c:v>Dec-14</c:v>
                </c:pt>
                <c:pt idx="327">
                  <c:v>Dec-14</c:v>
                </c:pt>
                <c:pt idx="328">
                  <c:v>Dec-14</c:v>
                </c:pt>
                <c:pt idx="329">
                  <c:v>Dec-14</c:v>
                </c:pt>
                <c:pt idx="330">
                  <c:v>Dec-14</c:v>
                </c:pt>
                <c:pt idx="331">
                  <c:v>Dec-14</c:v>
                </c:pt>
                <c:pt idx="332">
                  <c:v>Dec-14</c:v>
                </c:pt>
                <c:pt idx="333">
                  <c:v>Dec-14</c:v>
                </c:pt>
                <c:pt idx="334">
                  <c:v>Dec-14</c:v>
                </c:pt>
                <c:pt idx="335">
                  <c:v>Dec-14</c:v>
                </c:pt>
                <c:pt idx="336">
                  <c:v>Dec-14</c:v>
                </c:pt>
                <c:pt idx="337">
                  <c:v>Dec-14</c:v>
                </c:pt>
                <c:pt idx="338">
                  <c:v>Dec-14</c:v>
                </c:pt>
                <c:pt idx="339">
                  <c:v>Dec-14</c:v>
                </c:pt>
                <c:pt idx="340">
                  <c:v>Dec-14</c:v>
                </c:pt>
                <c:pt idx="341">
                  <c:v>Dec-14</c:v>
                </c:pt>
                <c:pt idx="342">
                  <c:v>Jan-15</c:v>
                </c:pt>
                <c:pt idx="343">
                  <c:v>Jan-15</c:v>
                </c:pt>
                <c:pt idx="344">
                  <c:v>Jan-15</c:v>
                </c:pt>
                <c:pt idx="345">
                  <c:v>Jan-15</c:v>
                </c:pt>
                <c:pt idx="346">
                  <c:v>Jan-15</c:v>
                </c:pt>
                <c:pt idx="347">
                  <c:v>Jan-15</c:v>
                </c:pt>
                <c:pt idx="348">
                  <c:v>Jan-15</c:v>
                </c:pt>
                <c:pt idx="349">
                  <c:v>Jan-15</c:v>
                </c:pt>
                <c:pt idx="350">
                  <c:v>Jan-15</c:v>
                </c:pt>
                <c:pt idx="351">
                  <c:v>Jan-15</c:v>
                </c:pt>
                <c:pt idx="352">
                  <c:v>Jan-15</c:v>
                </c:pt>
                <c:pt idx="353">
                  <c:v>Jan-15</c:v>
                </c:pt>
                <c:pt idx="354">
                  <c:v>Jan-15</c:v>
                </c:pt>
                <c:pt idx="355">
                  <c:v>Jan-15</c:v>
                </c:pt>
                <c:pt idx="356">
                  <c:v>Jan-15</c:v>
                </c:pt>
                <c:pt idx="357">
                  <c:v>Jan-15</c:v>
                </c:pt>
                <c:pt idx="358">
                  <c:v>Jan-15</c:v>
                </c:pt>
                <c:pt idx="359">
                  <c:v>Jan-15</c:v>
                </c:pt>
                <c:pt idx="360">
                  <c:v>Jan-15</c:v>
                </c:pt>
                <c:pt idx="361">
                  <c:v>Jan-15</c:v>
                </c:pt>
                <c:pt idx="362">
                  <c:v>Jan-15</c:v>
                </c:pt>
                <c:pt idx="363">
                  <c:v>Feb-15</c:v>
                </c:pt>
                <c:pt idx="364">
                  <c:v>Feb-15</c:v>
                </c:pt>
                <c:pt idx="365">
                  <c:v>Feb-15</c:v>
                </c:pt>
                <c:pt idx="366">
                  <c:v>Feb-15</c:v>
                </c:pt>
                <c:pt idx="367">
                  <c:v>Feb-15</c:v>
                </c:pt>
                <c:pt idx="368">
                  <c:v>Feb-15</c:v>
                </c:pt>
                <c:pt idx="369">
                  <c:v>Feb-15</c:v>
                </c:pt>
                <c:pt idx="370">
                  <c:v>Feb-15</c:v>
                </c:pt>
                <c:pt idx="371">
                  <c:v>Feb-15</c:v>
                </c:pt>
                <c:pt idx="372">
                  <c:v>Feb-15</c:v>
                </c:pt>
                <c:pt idx="373">
                  <c:v>Feb-15</c:v>
                </c:pt>
                <c:pt idx="374">
                  <c:v>Feb-15</c:v>
                </c:pt>
                <c:pt idx="375">
                  <c:v>Feb-15</c:v>
                </c:pt>
                <c:pt idx="376">
                  <c:v>Feb-15</c:v>
                </c:pt>
                <c:pt idx="377">
                  <c:v>Feb-15</c:v>
                </c:pt>
                <c:pt idx="378">
                  <c:v>Feb-15</c:v>
                </c:pt>
                <c:pt idx="379">
                  <c:v>Feb-15</c:v>
                </c:pt>
                <c:pt idx="380">
                  <c:v>Feb-15</c:v>
                </c:pt>
                <c:pt idx="381">
                  <c:v>Feb-15</c:v>
                </c:pt>
                <c:pt idx="382">
                  <c:v>Feb-15</c:v>
                </c:pt>
                <c:pt idx="383">
                  <c:v>Mar-15</c:v>
                </c:pt>
                <c:pt idx="384">
                  <c:v>Mar-15</c:v>
                </c:pt>
                <c:pt idx="385">
                  <c:v>Mar-15</c:v>
                </c:pt>
                <c:pt idx="386">
                  <c:v>Mar-15</c:v>
                </c:pt>
                <c:pt idx="387">
                  <c:v>Mar-15</c:v>
                </c:pt>
                <c:pt idx="388">
                  <c:v>Mar-15</c:v>
                </c:pt>
                <c:pt idx="389">
                  <c:v>Mar-15</c:v>
                </c:pt>
                <c:pt idx="390">
                  <c:v>Mar-15</c:v>
                </c:pt>
                <c:pt idx="391">
                  <c:v>Mar-15</c:v>
                </c:pt>
                <c:pt idx="392">
                  <c:v>Mar-15</c:v>
                </c:pt>
                <c:pt idx="393">
                  <c:v>Mar-15</c:v>
                </c:pt>
                <c:pt idx="394">
                  <c:v>Mar-15</c:v>
                </c:pt>
                <c:pt idx="395">
                  <c:v>Mar-15</c:v>
                </c:pt>
                <c:pt idx="396">
                  <c:v>Mar-15</c:v>
                </c:pt>
                <c:pt idx="397">
                  <c:v>Mar-15</c:v>
                </c:pt>
                <c:pt idx="398">
                  <c:v>Mar-15</c:v>
                </c:pt>
                <c:pt idx="399">
                  <c:v>Mar-15</c:v>
                </c:pt>
                <c:pt idx="400">
                  <c:v>Mar-15</c:v>
                </c:pt>
                <c:pt idx="401">
                  <c:v>Mar-15</c:v>
                </c:pt>
                <c:pt idx="402">
                  <c:v>Mar-15</c:v>
                </c:pt>
                <c:pt idx="403">
                  <c:v>Mar-15</c:v>
                </c:pt>
                <c:pt idx="404">
                  <c:v>Mar-15</c:v>
                </c:pt>
                <c:pt idx="405">
                  <c:v>Apr-15</c:v>
                </c:pt>
                <c:pt idx="406">
                  <c:v>Apr-15</c:v>
                </c:pt>
                <c:pt idx="407">
                  <c:v>Apr-15</c:v>
                </c:pt>
                <c:pt idx="408">
                  <c:v>Apr-15</c:v>
                </c:pt>
                <c:pt idx="409">
                  <c:v>Apr-15</c:v>
                </c:pt>
                <c:pt idx="410">
                  <c:v>Apr-15</c:v>
                </c:pt>
                <c:pt idx="411">
                  <c:v>Apr-15</c:v>
                </c:pt>
                <c:pt idx="412">
                  <c:v>Apr-15</c:v>
                </c:pt>
                <c:pt idx="413">
                  <c:v>Apr-15</c:v>
                </c:pt>
                <c:pt idx="414">
                  <c:v>Apr-15</c:v>
                </c:pt>
                <c:pt idx="415">
                  <c:v>Apr-15</c:v>
                </c:pt>
                <c:pt idx="416">
                  <c:v>Apr-15</c:v>
                </c:pt>
                <c:pt idx="417">
                  <c:v>Apr-15</c:v>
                </c:pt>
                <c:pt idx="418">
                  <c:v>Apr-15</c:v>
                </c:pt>
                <c:pt idx="419">
                  <c:v>Apr-15</c:v>
                </c:pt>
                <c:pt idx="420">
                  <c:v>Apr-15</c:v>
                </c:pt>
                <c:pt idx="421">
                  <c:v>Apr-15</c:v>
                </c:pt>
                <c:pt idx="422">
                  <c:v>Apr-15</c:v>
                </c:pt>
                <c:pt idx="423">
                  <c:v>Apr-15</c:v>
                </c:pt>
                <c:pt idx="424">
                  <c:v>Apr-15</c:v>
                </c:pt>
                <c:pt idx="425">
                  <c:v>May-15</c:v>
                </c:pt>
                <c:pt idx="426">
                  <c:v>May-15</c:v>
                </c:pt>
                <c:pt idx="427">
                  <c:v>May-15</c:v>
                </c:pt>
                <c:pt idx="428">
                  <c:v>May-15</c:v>
                </c:pt>
                <c:pt idx="429">
                  <c:v>May-15</c:v>
                </c:pt>
                <c:pt idx="430">
                  <c:v>May-15</c:v>
                </c:pt>
                <c:pt idx="431">
                  <c:v>May-15</c:v>
                </c:pt>
                <c:pt idx="432">
                  <c:v>May-15</c:v>
                </c:pt>
                <c:pt idx="433">
                  <c:v>May-15</c:v>
                </c:pt>
                <c:pt idx="434">
                  <c:v>May-15</c:v>
                </c:pt>
                <c:pt idx="435">
                  <c:v>May-15</c:v>
                </c:pt>
                <c:pt idx="436">
                  <c:v>May-15</c:v>
                </c:pt>
                <c:pt idx="437">
                  <c:v>May-15</c:v>
                </c:pt>
                <c:pt idx="438">
                  <c:v>May-15</c:v>
                </c:pt>
                <c:pt idx="439">
                  <c:v>May-15</c:v>
                </c:pt>
                <c:pt idx="440">
                  <c:v>May-15</c:v>
                </c:pt>
                <c:pt idx="441">
                  <c:v>May-15</c:v>
                </c:pt>
                <c:pt idx="442">
                  <c:v>May-15</c:v>
                </c:pt>
                <c:pt idx="443">
                  <c:v>May-15</c:v>
                </c:pt>
                <c:pt idx="444">
                  <c:v>May-15</c:v>
                </c:pt>
                <c:pt idx="445">
                  <c:v>May-15</c:v>
                </c:pt>
                <c:pt idx="446">
                  <c:v>Jun-15</c:v>
                </c:pt>
                <c:pt idx="447">
                  <c:v>Jun-15</c:v>
                </c:pt>
                <c:pt idx="448">
                  <c:v>Jun-15</c:v>
                </c:pt>
                <c:pt idx="449">
                  <c:v>Jun-15</c:v>
                </c:pt>
                <c:pt idx="450">
                  <c:v>Jun-15</c:v>
                </c:pt>
                <c:pt idx="451">
                  <c:v>Jun-15</c:v>
                </c:pt>
                <c:pt idx="452">
                  <c:v>Jun-15</c:v>
                </c:pt>
                <c:pt idx="453">
                  <c:v>Jun-15</c:v>
                </c:pt>
                <c:pt idx="454">
                  <c:v>Jun-15</c:v>
                </c:pt>
                <c:pt idx="455">
                  <c:v>Jun-15</c:v>
                </c:pt>
                <c:pt idx="456">
                  <c:v>Jun-15</c:v>
                </c:pt>
                <c:pt idx="457">
                  <c:v>Jun-15</c:v>
                </c:pt>
                <c:pt idx="458">
                  <c:v>Jun-15</c:v>
                </c:pt>
                <c:pt idx="459">
                  <c:v>Jun-15</c:v>
                </c:pt>
                <c:pt idx="460">
                  <c:v>Jun-15</c:v>
                </c:pt>
                <c:pt idx="461">
                  <c:v>Jun-15</c:v>
                </c:pt>
                <c:pt idx="462">
                  <c:v>Jun-15</c:v>
                </c:pt>
                <c:pt idx="463">
                  <c:v>Jun-15</c:v>
                </c:pt>
                <c:pt idx="464">
                  <c:v>Jun-15</c:v>
                </c:pt>
                <c:pt idx="465">
                  <c:v>Jun-15</c:v>
                </c:pt>
                <c:pt idx="466">
                  <c:v>Jun-15</c:v>
                </c:pt>
                <c:pt idx="467">
                  <c:v>Jun-15</c:v>
                </c:pt>
                <c:pt idx="468">
                  <c:v>Jul-15</c:v>
                </c:pt>
                <c:pt idx="469">
                  <c:v>Jul-15</c:v>
                </c:pt>
                <c:pt idx="470">
                  <c:v>Jul-15</c:v>
                </c:pt>
                <c:pt idx="471">
                  <c:v>Jul-15</c:v>
                </c:pt>
                <c:pt idx="472">
                  <c:v>Jul-15</c:v>
                </c:pt>
                <c:pt idx="473">
                  <c:v>Jul-15</c:v>
                </c:pt>
                <c:pt idx="474">
                  <c:v>Jul-15</c:v>
                </c:pt>
                <c:pt idx="475">
                  <c:v>Jul-15</c:v>
                </c:pt>
                <c:pt idx="476">
                  <c:v>Jul-15</c:v>
                </c:pt>
                <c:pt idx="477">
                  <c:v>Jul-15</c:v>
                </c:pt>
                <c:pt idx="478">
                  <c:v>Jul-15</c:v>
                </c:pt>
                <c:pt idx="479">
                  <c:v>Jul-15</c:v>
                </c:pt>
                <c:pt idx="480">
                  <c:v>Jul-15</c:v>
                </c:pt>
                <c:pt idx="481">
                  <c:v>Jul-15</c:v>
                </c:pt>
                <c:pt idx="482">
                  <c:v>Jul-15</c:v>
                </c:pt>
                <c:pt idx="483">
                  <c:v>Jul-15</c:v>
                </c:pt>
                <c:pt idx="484">
                  <c:v>Jul-15</c:v>
                </c:pt>
                <c:pt idx="485">
                  <c:v>Jul-15</c:v>
                </c:pt>
                <c:pt idx="486">
                  <c:v>Jul-15</c:v>
                </c:pt>
                <c:pt idx="487">
                  <c:v>Jul-15</c:v>
                </c:pt>
                <c:pt idx="488">
                  <c:v>Jul-15</c:v>
                </c:pt>
                <c:pt idx="489">
                  <c:v>Jul-15</c:v>
                </c:pt>
                <c:pt idx="490">
                  <c:v>Aug-15</c:v>
                </c:pt>
                <c:pt idx="491">
                  <c:v>Aug-15</c:v>
                </c:pt>
                <c:pt idx="492">
                  <c:v>Aug-15</c:v>
                </c:pt>
                <c:pt idx="493">
                  <c:v>Aug-15</c:v>
                </c:pt>
                <c:pt idx="494">
                  <c:v>Aug-15</c:v>
                </c:pt>
                <c:pt idx="495">
                  <c:v>Aug-15</c:v>
                </c:pt>
                <c:pt idx="496">
                  <c:v>Aug-15</c:v>
                </c:pt>
                <c:pt idx="497">
                  <c:v>Aug-15</c:v>
                </c:pt>
                <c:pt idx="498">
                  <c:v>Aug-15</c:v>
                </c:pt>
                <c:pt idx="499">
                  <c:v>Aug-15</c:v>
                </c:pt>
                <c:pt idx="500">
                  <c:v>Aug-15</c:v>
                </c:pt>
                <c:pt idx="501">
                  <c:v>Aug-15</c:v>
                </c:pt>
                <c:pt idx="502">
                  <c:v>Aug-15</c:v>
                </c:pt>
                <c:pt idx="503">
                  <c:v>Aug-15</c:v>
                </c:pt>
                <c:pt idx="504">
                  <c:v>Aug-15</c:v>
                </c:pt>
                <c:pt idx="505">
                  <c:v>Aug-15</c:v>
                </c:pt>
                <c:pt idx="506">
                  <c:v>Aug-15</c:v>
                </c:pt>
                <c:pt idx="507">
                  <c:v>Aug-15</c:v>
                </c:pt>
                <c:pt idx="508">
                  <c:v>Aug-15</c:v>
                </c:pt>
                <c:pt idx="509">
                  <c:v>Aug-15</c:v>
                </c:pt>
                <c:pt idx="510">
                  <c:v>Aug-15</c:v>
                </c:pt>
              </c:strCache>
            </c:strRef>
          </c:cat>
          <c:val>
            <c:numRef>
              <c:f>Sheet0!$B$2:$B$512</c:f>
              <c:numCache>
                <c:formatCode>General</c:formatCode>
                <c:ptCount val="511"/>
                <c:pt idx="0">
                  <c:v>100.04</c:v>
                </c:pt>
                <c:pt idx="1">
                  <c:v>100.99</c:v>
                </c:pt>
                <c:pt idx="2">
                  <c:v>100.91</c:v>
                </c:pt>
                <c:pt idx="3">
                  <c:v>101.45</c:v>
                </c:pt>
                <c:pt idx="4">
                  <c:v>101.66</c:v>
                </c:pt>
                <c:pt idx="5">
                  <c:v>102.36</c:v>
                </c:pt>
                <c:pt idx="6">
                  <c:v>102.94</c:v>
                </c:pt>
                <c:pt idx="7">
                  <c:v>103.78</c:v>
                </c:pt>
                <c:pt idx="8">
                  <c:v>104.28</c:v>
                </c:pt>
                <c:pt idx="9">
                  <c:v>104.36</c:v>
                </c:pt>
                <c:pt idx="10">
                  <c:v>104.48</c:v>
                </c:pt>
                <c:pt idx="11">
                  <c:v>105.61</c:v>
                </c:pt>
                <c:pt idx="12">
                  <c:v>105.71</c:v>
                </c:pt>
                <c:pt idx="13">
                  <c:v>106.29</c:v>
                </c:pt>
                <c:pt idx="14">
                  <c:v>104.95</c:v>
                </c:pt>
                <c:pt idx="15">
                  <c:v>106.88</c:v>
                </c:pt>
                <c:pt idx="16">
                  <c:v>106.72</c:v>
                </c:pt>
                <c:pt idx="17">
                  <c:v>107.07</c:v>
                </c:pt>
                <c:pt idx="18">
                  <c:v>107.09</c:v>
                </c:pt>
                <c:pt idx="19">
                  <c:v>107.03</c:v>
                </c:pt>
                <c:pt idx="20">
                  <c:v>107.06</c:v>
                </c:pt>
                <c:pt idx="21">
                  <c:v>106.52</c:v>
                </c:pt>
                <c:pt idx="22">
                  <c:v>107.07</c:v>
                </c:pt>
                <c:pt idx="23">
                  <c:v>106.96</c:v>
                </c:pt>
                <c:pt idx="24">
                  <c:v>106.66</c:v>
                </c:pt>
                <c:pt idx="25">
                  <c:v>106.58</c:v>
                </c:pt>
                <c:pt idx="26">
                  <c:v>106.12</c:v>
                </c:pt>
                <c:pt idx="27">
                  <c:v>106.06</c:v>
                </c:pt>
                <c:pt idx="28">
                  <c:v>105.80</c:v>
                </c:pt>
                <c:pt idx="29">
                  <c:v>107.31</c:v>
                </c:pt>
                <c:pt idx="30">
                  <c:v>107.66</c:v>
                </c:pt>
                <c:pt idx="31">
                  <c:v>107.96</c:v>
                </c:pt>
                <c:pt idx="32">
                  <c:v>107.94</c:v>
                </c:pt>
                <c:pt idx="33">
                  <c:v>108.64</c:v>
                </c:pt>
                <c:pt idx="34">
                  <c:v>109.81</c:v>
                </c:pt>
                <c:pt idx="35">
                  <c:v>110.38</c:v>
                </c:pt>
                <c:pt idx="36">
                  <c:v>110.58</c:v>
                </c:pt>
                <c:pt idx="37">
                  <c:v>111.44</c:v>
                </c:pt>
                <c:pt idx="38">
                  <c:v>110.74</c:v>
                </c:pt>
                <c:pt idx="39">
                  <c:v>110.92</c:v>
                </c:pt>
                <c:pt idx="40">
                  <c:v>110.90</c:v>
                </c:pt>
                <c:pt idx="41">
                  <c:v>111.14</c:v>
                </c:pt>
                <c:pt idx="42">
                  <c:v>111.40</c:v>
                </c:pt>
                <c:pt idx="43">
                  <c:v>111.26</c:v>
                </c:pt>
                <c:pt idx="44">
                  <c:v>110.64</c:v>
                </c:pt>
                <c:pt idx="45">
                  <c:v>110.15</c:v>
                </c:pt>
                <c:pt idx="46">
                  <c:v>110.54</c:v>
                </c:pt>
                <c:pt idx="47">
                  <c:v>109.90</c:v>
                </c:pt>
                <c:pt idx="48">
                  <c:v>110.72</c:v>
                </c:pt>
                <c:pt idx="49">
                  <c:v>109.45</c:v>
                </c:pt>
                <c:pt idx="50">
                  <c:v>109.29</c:v>
                </c:pt>
                <c:pt idx="51">
                  <c:v>109.50</c:v>
                </c:pt>
                <c:pt idx="52">
                  <c:v>109.17</c:v>
                </c:pt>
                <c:pt idx="53">
                  <c:v>108.88</c:v>
                </c:pt>
                <c:pt idx="54">
                  <c:v>109.68</c:v>
                </c:pt>
                <c:pt idx="55">
                  <c:v>110.23</c:v>
                </c:pt>
                <c:pt idx="56">
                  <c:v>110.78</c:v>
                </c:pt>
                <c:pt idx="57">
                  <c:v>110.21</c:v>
                </c:pt>
                <c:pt idx="58">
                  <c:v>109.55</c:v>
                </c:pt>
                <c:pt idx="59">
                  <c:v>109.33</c:v>
                </c:pt>
                <c:pt idx="60">
                  <c:v>109.74</c:v>
                </c:pt>
                <c:pt idx="61">
                  <c:v>109.72</c:v>
                </c:pt>
                <c:pt idx="62">
                  <c:v>109.45</c:v>
                </c:pt>
                <c:pt idx="63">
                  <c:v>109.59</c:v>
                </c:pt>
                <c:pt idx="64">
                  <c:v>109.75</c:v>
                </c:pt>
                <c:pt idx="65">
                  <c:v>109.92</c:v>
                </c:pt>
                <c:pt idx="66">
                  <c:v>109.25</c:v>
                </c:pt>
                <c:pt idx="67">
                  <c:v>108.50</c:v>
                </c:pt>
                <c:pt idx="68">
                  <c:v>107.88</c:v>
                </c:pt>
                <c:pt idx="69">
                  <c:v>107.26</c:v>
                </c:pt>
                <c:pt idx="70">
                  <c:v>107.86</c:v>
                </c:pt>
                <c:pt idx="71">
                  <c:v>108.13</c:v>
                </c:pt>
                <c:pt idx="72">
                  <c:v>107.98</c:v>
                </c:pt>
                <c:pt idx="73">
                  <c:v>107.03</c:v>
                </c:pt>
                <c:pt idx="74">
                  <c:v>106.16</c:v>
                </c:pt>
                <c:pt idx="75">
                  <c:v>106.11</c:v>
                </c:pt>
                <c:pt idx="76">
                  <c:v>106.90</c:v>
                </c:pt>
                <c:pt idx="77">
                  <c:v>106.86</c:v>
                </c:pt>
                <c:pt idx="78">
                  <c:v>107.53</c:v>
                </c:pt>
                <c:pt idx="79">
                  <c:v>107.99</c:v>
                </c:pt>
                <c:pt idx="80">
                  <c:v>108.66</c:v>
                </c:pt>
                <c:pt idx="81">
                  <c:v>109.38</c:v>
                </c:pt>
                <c:pt idx="82">
                  <c:v>109.63</c:v>
                </c:pt>
                <c:pt idx="83">
                  <c:v>110.51</c:v>
                </c:pt>
                <c:pt idx="84">
                  <c:v>110.91</c:v>
                </c:pt>
                <c:pt idx="85">
                  <c:v>111.11</c:v>
                </c:pt>
                <c:pt idx="86">
                  <c:v>109.74</c:v>
                </c:pt>
                <c:pt idx="87">
                  <c:v>109.72</c:v>
                </c:pt>
                <c:pt idx="88">
                  <c:v>109.62</c:v>
                </c:pt>
                <c:pt idx="89">
                  <c:v>109.78</c:v>
                </c:pt>
                <c:pt idx="90">
                  <c:v>109.80</c:v>
                </c:pt>
                <c:pt idx="91">
                  <c:v>109.51</c:v>
                </c:pt>
                <c:pt idx="92">
                  <c:v>110.54</c:v>
                </c:pt>
                <c:pt idx="93">
                  <c:v>110.38</c:v>
                </c:pt>
                <c:pt idx="94">
                  <c:v>110.62</c:v>
                </c:pt>
                <c:pt idx="95">
                  <c:v>110.99</c:v>
                </c:pt>
                <c:pt idx="96">
                  <c:v>111.25</c:v>
                </c:pt>
                <c:pt idx="97">
                  <c:v>111.23</c:v>
                </c:pt>
                <c:pt idx="98">
                  <c:v>111.22</c:v>
                </c:pt>
                <c:pt idx="99">
                  <c:v>111.19</c:v>
                </c:pt>
                <c:pt idx="100">
                  <c:v>111.35</c:v>
                </c:pt>
                <c:pt idx="101">
                  <c:v>110.85</c:v>
                </c:pt>
                <c:pt idx="102">
                  <c:v>109.33</c:v>
                </c:pt>
                <c:pt idx="103">
                  <c:v>108.67</c:v>
                </c:pt>
                <c:pt idx="104">
                  <c:v>108.73</c:v>
                </c:pt>
                <c:pt idx="105">
                  <c:v>108.39</c:v>
                </c:pt>
                <c:pt idx="106">
                  <c:v>108.93</c:v>
                </c:pt>
                <c:pt idx="107">
                  <c:v>108.38</c:v>
                </c:pt>
                <c:pt idx="108">
                  <c:v>107.31</c:v>
                </c:pt>
                <c:pt idx="109">
                  <c:v>106.91</c:v>
                </c:pt>
                <c:pt idx="110">
                  <c:v>107.01</c:v>
                </c:pt>
                <c:pt idx="111">
                  <c:v>108.28</c:v>
                </c:pt>
                <c:pt idx="112">
                  <c:v>109.09</c:v>
                </c:pt>
                <c:pt idx="113">
                  <c:v>109.33</c:v>
                </c:pt>
                <c:pt idx="114">
                  <c:v>110.41</c:v>
                </c:pt>
                <c:pt idx="115">
                  <c:v>110.85</c:v>
                </c:pt>
                <c:pt idx="116">
                  <c:v>111.55</c:v>
                </c:pt>
                <c:pt idx="117">
                  <c:v>112.20</c:v>
                </c:pt>
                <c:pt idx="118">
                  <c:v>112.50</c:v>
                </c:pt>
                <c:pt idx="119">
                  <c:v>113.06</c:v>
                </c:pt>
                <c:pt idx="120">
                  <c:v>112.79</c:v>
                </c:pt>
                <c:pt idx="121">
                  <c:v>112.44</c:v>
                </c:pt>
                <c:pt idx="122">
                  <c:v>113.02</c:v>
                </c:pt>
                <c:pt idx="123">
                  <c:v>113.60</c:v>
                </c:pt>
                <c:pt idx="124">
                  <c:v>113.77</c:v>
                </c:pt>
                <c:pt idx="125">
                  <c:v>113.27</c:v>
                </c:pt>
                <c:pt idx="126">
                  <c:v>113.11</c:v>
                </c:pt>
                <c:pt idx="127">
                  <c:v>113.96</c:v>
                </c:pt>
                <c:pt idx="128">
                  <c:v>112.91</c:v>
                </c:pt>
                <c:pt idx="129">
                  <c:v>114.20</c:v>
                </c:pt>
                <c:pt idx="130">
                  <c:v>114.36</c:v>
                </c:pt>
                <c:pt idx="131">
                  <c:v>114.91</c:v>
                </c:pt>
                <c:pt idx="132">
                  <c:v>114.63</c:v>
                </c:pt>
                <c:pt idx="133">
                  <c:v>114.60</c:v>
                </c:pt>
                <c:pt idx="134">
                  <c:v>114.43</c:v>
                </c:pt>
                <c:pt idx="135">
                  <c:v>113.96</c:v>
                </c:pt>
                <c:pt idx="136">
                  <c:v>113.49</c:v>
                </c:pt>
                <c:pt idx="137">
                  <c:v>112.95</c:v>
                </c:pt>
                <c:pt idx="138">
                  <c:v>113.69</c:v>
                </c:pt>
                <c:pt idx="139">
                  <c:v>114.48</c:v>
                </c:pt>
                <c:pt idx="140">
                  <c:v>113.85</c:v>
                </c:pt>
                <c:pt idx="141">
                  <c:v>113.06</c:v>
                </c:pt>
                <c:pt idx="142">
                  <c:v>113.66</c:v>
                </c:pt>
                <c:pt idx="143">
                  <c:v>113.36</c:v>
                </c:pt>
                <c:pt idx="144">
                  <c:v>113.95</c:v>
                </c:pt>
                <c:pt idx="145">
                  <c:v>114.66</c:v>
                </c:pt>
                <c:pt idx="146">
                  <c:v>115.26</c:v>
                </c:pt>
                <c:pt idx="147">
                  <c:v>115.90</c:v>
                </c:pt>
                <c:pt idx="148">
                  <c:v>116.58</c:v>
                </c:pt>
                <c:pt idx="149">
                  <c:v>116.49</c:v>
                </c:pt>
                <c:pt idx="150">
                  <c:v>116.35</c:v>
                </c:pt>
                <c:pt idx="151">
                  <c:v>116.27</c:v>
                </c:pt>
                <c:pt idx="152">
                  <c:v>116.80</c:v>
                </c:pt>
                <c:pt idx="153">
                  <c:v>116.43</c:v>
                </c:pt>
                <c:pt idx="154">
                  <c:v>117.04</c:v>
                </c:pt>
                <c:pt idx="155">
                  <c:v>117.80</c:v>
                </c:pt>
                <c:pt idx="156">
                  <c:v>117.65</c:v>
                </c:pt>
                <c:pt idx="157">
                  <c:v>117.11</c:v>
                </c:pt>
                <c:pt idx="158">
                  <c:v>117.22</c:v>
                </c:pt>
                <c:pt idx="159">
                  <c:v>117.18</c:v>
                </c:pt>
                <c:pt idx="160">
                  <c:v>117.92</c:v>
                </c:pt>
                <c:pt idx="161">
                  <c:v>118.37</c:v>
                </c:pt>
                <c:pt idx="162">
                  <c:v>118.75</c:v>
                </c:pt>
                <c:pt idx="163">
                  <c:v>118.40</c:v>
                </c:pt>
                <c:pt idx="164">
                  <c:v>118.87</c:v>
                </c:pt>
                <c:pt idx="165">
                  <c:v>118.65</c:v>
                </c:pt>
                <c:pt idx="166">
                  <c:v>119.38</c:v>
                </c:pt>
                <c:pt idx="167">
                  <c:v>120.04</c:v>
                </c:pt>
                <c:pt idx="168">
                  <c:v>120.33</c:v>
                </c:pt>
                <c:pt idx="169">
                  <c:v>120.19</c:v>
                </c:pt>
                <c:pt idx="170">
                  <c:v>120.20</c:v>
                </c:pt>
                <c:pt idx="171">
                  <c:v>120.37</c:v>
                </c:pt>
                <c:pt idx="172">
                  <c:v>120.71</c:v>
                </c:pt>
                <c:pt idx="173">
                  <c:v>121.04</c:v>
                </c:pt>
                <c:pt idx="174">
                  <c:v>121.36</c:v>
                </c:pt>
                <c:pt idx="175">
                  <c:v>120.71</c:v>
                </c:pt>
                <c:pt idx="176">
                  <c:v>121.10</c:v>
                </c:pt>
                <c:pt idx="177">
                  <c:v>121.37</c:v>
                </c:pt>
                <c:pt idx="178">
                  <c:v>121.72</c:v>
                </c:pt>
                <c:pt idx="179">
                  <c:v>121.49</c:v>
                </c:pt>
                <c:pt idx="180">
                  <c:v>121.65</c:v>
                </c:pt>
                <c:pt idx="181">
                  <c:v>121.32</c:v>
                </c:pt>
                <c:pt idx="182">
                  <c:v>120.98</c:v>
                </c:pt>
                <c:pt idx="183">
                  <c:v>121.29</c:v>
                </c:pt>
                <c:pt idx="184">
                  <c:v>121.49</c:v>
                </c:pt>
                <c:pt idx="185">
                  <c:v>121.66</c:v>
                </c:pt>
                <c:pt idx="186">
                  <c:v>122.06</c:v>
                </c:pt>
                <c:pt idx="187">
                  <c:v>122.39</c:v>
                </c:pt>
                <c:pt idx="188">
                  <c:v>122.31</c:v>
                </c:pt>
                <c:pt idx="189">
                  <c:v>122.67</c:v>
                </c:pt>
                <c:pt idx="190">
                  <c:v>122.70</c:v>
                </c:pt>
                <c:pt idx="191">
                  <c:v>122.72</c:v>
                </c:pt>
                <c:pt idx="192">
                  <c:v>122.55</c:v>
                </c:pt>
                <c:pt idx="193">
                  <c:v>122.39</c:v>
                </c:pt>
                <c:pt idx="194">
                  <c:v>122.80</c:v>
                </c:pt>
                <c:pt idx="195">
                  <c:v>123.54</c:v>
                </c:pt>
                <c:pt idx="196">
                  <c:v>123.66</c:v>
                </c:pt>
                <c:pt idx="197">
                  <c:v>123.89</c:v>
                </c:pt>
                <c:pt idx="198">
                  <c:v>123.31</c:v>
                </c:pt>
                <c:pt idx="199">
                  <c:v>123.49</c:v>
                </c:pt>
                <c:pt idx="200">
                  <c:v>123.60</c:v>
                </c:pt>
                <c:pt idx="201">
                  <c:v>123.63</c:v>
                </c:pt>
                <c:pt idx="202">
                  <c:v>123.40</c:v>
                </c:pt>
                <c:pt idx="203">
                  <c:v>123.93</c:v>
                </c:pt>
                <c:pt idx="204">
                  <c:v>124.89</c:v>
                </c:pt>
                <c:pt idx="205">
                  <c:v>124.54</c:v>
                </c:pt>
                <c:pt idx="206">
                  <c:v>124.41</c:v>
                </c:pt>
                <c:pt idx="207">
                  <c:v>124.20</c:v>
                </c:pt>
                <c:pt idx="208">
                  <c:v>123.93</c:v>
                </c:pt>
                <c:pt idx="209">
                  <c:v>124.63</c:v>
                </c:pt>
                <c:pt idx="210">
                  <c:v>125.02</c:v>
                </c:pt>
                <c:pt idx="211">
                  <c:v>125.09</c:v>
                </c:pt>
                <c:pt idx="212">
                  <c:v>125.31</c:v>
                </c:pt>
                <c:pt idx="213">
                  <c:v>125.38</c:v>
                </c:pt>
                <c:pt idx="214">
                  <c:v>125.82</c:v>
                </c:pt>
                <c:pt idx="215">
                  <c:v>125.62</c:v>
                </c:pt>
                <c:pt idx="216">
                  <c:v>125.31</c:v>
                </c:pt>
                <c:pt idx="217">
                  <c:v>124.76</c:v>
                </c:pt>
                <c:pt idx="218">
                  <c:v>124.70</c:v>
                </c:pt>
                <c:pt idx="219">
                  <c:v>124.43</c:v>
                </c:pt>
                <c:pt idx="220">
                  <c:v>124.48</c:v>
                </c:pt>
                <c:pt idx="221">
                  <c:v>124.93</c:v>
                </c:pt>
                <c:pt idx="222">
                  <c:v>124.47</c:v>
                </c:pt>
                <c:pt idx="223">
                  <c:v>125.17</c:v>
                </c:pt>
                <c:pt idx="224">
                  <c:v>124.33</c:v>
                </c:pt>
                <c:pt idx="225">
                  <c:v>124.45</c:v>
                </c:pt>
                <c:pt idx="226">
                  <c:v>124.29</c:v>
                </c:pt>
                <c:pt idx="227">
                  <c:v>124.85</c:v>
                </c:pt>
                <c:pt idx="228">
                  <c:v>125.25</c:v>
                </c:pt>
                <c:pt idx="229">
                  <c:v>125.53</c:v>
                </c:pt>
                <c:pt idx="230">
                  <c:v>125.01</c:v>
                </c:pt>
                <c:pt idx="231">
                  <c:v>125.11</c:v>
                </c:pt>
                <c:pt idx="232">
                  <c:v>125.11</c:v>
                </c:pt>
                <c:pt idx="233">
                  <c:v>124.16</c:v>
                </c:pt>
                <c:pt idx="234">
                  <c:v>123.13</c:v>
                </c:pt>
                <c:pt idx="235">
                  <c:v>122.34</c:v>
                </c:pt>
                <c:pt idx="236">
                  <c:v>122.28</c:v>
                </c:pt>
                <c:pt idx="237">
                  <c:v>121.85</c:v>
                </c:pt>
                <c:pt idx="238">
                  <c:v>121.31</c:v>
                </c:pt>
                <c:pt idx="239">
                  <c:v>120.92</c:v>
                </c:pt>
                <c:pt idx="240">
                  <c:v>121.16</c:v>
                </c:pt>
                <c:pt idx="241">
                  <c:v>121.84</c:v>
                </c:pt>
                <c:pt idx="242">
                  <c:v>121.95</c:v>
                </c:pt>
                <c:pt idx="243">
                  <c:v>122.47</c:v>
                </c:pt>
                <c:pt idx="244">
                  <c:v>123.12</c:v>
                </c:pt>
                <c:pt idx="245">
                  <c:v>123.02</c:v>
                </c:pt>
                <c:pt idx="246">
                  <c:v>123.64</c:v>
                </c:pt>
                <c:pt idx="247">
                  <c:v>124.22</c:v>
                </c:pt>
                <c:pt idx="248">
                  <c:v>124.38</c:v>
                </c:pt>
                <c:pt idx="249">
                  <c:v>124.80</c:v>
                </c:pt>
                <c:pt idx="250">
                  <c:v>124.30</c:v>
                </c:pt>
                <c:pt idx="251">
                  <c:v>124.75</c:v>
                </c:pt>
                <c:pt idx="252">
                  <c:v>124.98</c:v>
                </c:pt>
                <c:pt idx="253">
                  <c:v>125.37</c:v>
                </c:pt>
                <c:pt idx="254">
                  <c:v>125.15</c:v>
                </c:pt>
                <c:pt idx="255">
                  <c:v>125.29</c:v>
                </c:pt>
                <c:pt idx="256">
                  <c:v>125.26</c:v>
                </c:pt>
                <c:pt idx="257">
                  <c:v>124.93</c:v>
                </c:pt>
                <c:pt idx="258">
                  <c:v>125.70</c:v>
                </c:pt>
                <c:pt idx="259">
                  <c:v>125.30</c:v>
                </c:pt>
                <c:pt idx="260">
                  <c:v>125.08</c:v>
                </c:pt>
                <c:pt idx="261">
                  <c:v>124.18</c:v>
                </c:pt>
                <c:pt idx="262">
                  <c:v>123.39</c:v>
                </c:pt>
                <c:pt idx="263">
                  <c:v>122.99</c:v>
                </c:pt>
                <c:pt idx="264">
                  <c:v>123.07</c:v>
                </c:pt>
                <c:pt idx="265">
                  <c:v>122.35</c:v>
                </c:pt>
                <c:pt idx="266">
                  <c:v>121.79</c:v>
                </c:pt>
                <c:pt idx="267">
                  <c:v>121.82</c:v>
                </c:pt>
                <c:pt idx="268">
                  <c:v>122.06</c:v>
                </c:pt>
                <c:pt idx="269">
                  <c:v>122.09</c:v>
                </c:pt>
                <c:pt idx="270">
                  <c:v>121.96</c:v>
                </c:pt>
                <c:pt idx="271">
                  <c:v>121.33</c:v>
                </c:pt>
                <c:pt idx="272">
                  <c:v>120.63</c:v>
                </c:pt>
                <c:pt idx="273">
                  <c:v>120.63</c:v>
                </c:pt>
                <c:pt idx="274">
                  <c:v>119.79</c:v>
                </c:pt>
                <c:pt idx="275">
                  <c:v>119.64</c:v>
                </c:pt>
                <c:pt idx="276">
                  <c:v>119.01</c:v>
                </c:pt>
                <c:pt idx="277">
                  <c:v>118.97</c:v>
                </c:pt>
                <c:pt idx="278">
                  <c:v>118.43</c:v>
                </c:pt>
                <c:pt idx="279">
                  <c:v>117.42</c:v>
                </c:pt>
                <c:pt idx="280">
                  <c:v>117.48</c:v>
                </c:pt>
                <c:pt idx="281">
                  <c:v>117.82</c:v>
                </c:pt>
                <c:pt idx="282">
                  <c:v>117.59</c:v>
                </c:pt>
                <c:pt idx="283">
                  <c:v>117.80</c:v>
                </c:pt>
                <c:pt idx="284">
                  <c:v>117.80</c:v>
                </c:pt>
                <c:pt idx="285">
                  <c:v>116.09</c:v>
                </c:pt>
                <c:pt idx="286">
                  <c:v>116.03</c:v>
                </c:pt>
                <c:pt idx="287">
                  <c:v>115.77</c:v>
                </c:pt>
                <c:pt idx="288">
                  <c:v>114.85</c:v>
                </c:pt>
                <c:pt idx="289">
                  <c:v>114.48</c:v>
                </c:pt>
                <c:pt idx="290">
                  <c:v>115.69</c:v>
                </c:pt>
                <c:pt idx="291">
                  <c:v>116.26</c:v>
                </c:pt>
                <c:pt idx="292">
                  <c:v>117.57</c:v>
                </c:pt>
                <c:pt idx="293">
                  <c:v>118.09</c:v>
                </c:pt>
                <c:pt idx="294">
                  <c:v>118.23</c:v>
                </c:pt>
                <c:pt idx="295">
                  <c:v>118.83</c:v>
                </c:pt>
                <c:pt idx="296">
                  <c:v>118.80</c:v>
                </c:pt>
                <c:pt idx="297">
                  <c:v>119.75</c:v>
                </c:pt>
                <c:pt idx="298">
                  <c:v>120.13</c:v>
                </c:pt>
                <c:pt idx="299">
                  <c:v>120.08</c:v>
                </c:pt>
                <c:pt idx="300">
                  <c:v>120.90</c:v>
                </c:pt>
                <c:pt idx="301">
                  <c:v>120.19</c:v>
                </c:pt>
                <c:pt idx="302">
                  <c:v>119.87</c:v>
                </c:pt>
                <c:pt idx="303">
                  <c:v>120.49</c:v>
                </c:pt>
                <c:pt idx="304">
                  <c:v>119.88</c:v>
                </c:pt>
                <c:pt idx="305">
                  <c:v>120.01</c:v>
                </c:pt>
                <c:pt idx="306">
                  <c:v>120.80</c:v>
                </c:pt>
                <c:pt idx="307">
                  <c:v>121.08</c:v>
                </c:pt>
                <c:pt idx="308">
                  <c:v>120.76</c:v>
                </c:pt>
                <c:pt idx="309">
                  <c:v>120.67</c:v>
                </c:pt>
                <c:pt idx="310">
                  <c:v>120.69</c:v>
                </c:pt>
                <c:pt idx="311">
                  <c:v>120.69</c:v>
                </c:pt>
                <c:pt idx="312">
                  <c:v>121.43</c:v>
                </c:pt>
                <c:pt idx="313">
                  <c:v>120.96</c:v>
                </c:pt>
                <c:pt idx="314">
                  <c:v>120.99</c:v>
                </c:pt>
                <c:pt idx="315">
                  <c:v>121.52</c:v>
                </c:pt>
                <c:pt idx="316">
                  <c:v>121.21</c:v>
                </c:pt>
                <c:pt idx="317">
                  <c:v>121.31</c:v>
                </c:pt>
                <c:pt idx="318">
                  <c:v>121.69</c:v>
                </c:pt>
                <c:pt idx="319">
                  <c:v>121.25</c:v>
                </c:pt>
                <c:pt idx="320">
                  <c:v>121.07</c:v>
                </c:pt>
                <c:pt idx="321">
                  <c:v>120.47</c:v>
                </c:pt>
                <c:pt idx="322">
                  <c:v>120.71</c:v>
                </c:pt>
                <c:pt idx="323">
                  <c:v>120.66</c:v>
                </c:pt>
                <c:pt idx="324">
                  <c:v>120.44</c:v>
                </c:pt>
                <c:pt idx="325">
                  <c:v>120.50</c:v>
                </c:pt>
                <c:pt idx="326">
                  <c:v>120.19</c:v>
                </c:pt>
                <c:pt idx="327">
                  <c:v>119.49</c:v>
                </c:pt>
                <c:pt idx="328">
                  <c:v>118.75</c:v>
                </c:pt>
                <c:pt idx="329">
                  <c:v>118.91</c:v>
                </c:pt>
                <c:pt idx="330">
                  <c:v>117.77</c:v>
                </c:pt>
                <c:pt idx="331">
                  <c:v>116.23</c:v>
                </c:pt>
                <c:pt idx="332">
                  <c:v>116.88</c:v>
                </c:pt>
                <c:pt idx="333">
                  <c:v>117.43</c:v>
                </c:pt>
                <c:pt idx="334">
                  <c:v>118.93</c:v>
                </c:pt>
                <c:pt idx="335">
                  <c:v>119.65</c:v>
                </c:pt>
                <c:pt idx="336">
                  <c:v>120.32</c:v>
                </c:pt>
                <c:pt idx="337">
                  <c:v>120.26</c:v>
                </c:pt>
                <c:pt idx="338">
                  <c:v>120.68</c:v>
                </c:pt>
                <c:pt idx="339">
                  <c:v>121.22</c:v>
                </c:pt>
                <c:pt idx="340">
                  <c:v>120.37</c:v>
                </c:pt>
                <c:pt idx="341">
                  <c:v>119.86</c:v>
                </c:pt>
                <c:pt idx="342">
                  <c:v>119.34</c:v>
                </c:pt>
                <c:pt idx="343">
                  <c:v>117.34</c:v>
                </c:pt>
                <c:pt idx="344">
                  <c:v>116.39</c:v>
                </c:pt>
                <c:pt idx="345">
                  <c:v>116.37</c:v>
                </c:pt>
                <c:pt idx="346">
                  <c:v>117.96</c:v>
                </c:pt>
                <c:pt idx="347">
                  <c:v>117.79</c:v>
                </c:pt>
                <c:pt idx="348">
                  <c:v>117.49</c:v>
                </c:pt>
                <c:pt idx="349">
                  <c:v>118.01</c:v>
                </c:pt>
                <c:pt idx="350">
                  <c:v>117.69</c:v>
                </c:pt>
                <c:pt idx="351">
                  <c:v>118.71</c:v>
                </c:pt>
                <c:pt idx="352">
                  <c:v>119.18</c:v>
                </c:pt>
                <c:pt idx="353">
                  <c:v>119.57</c:v>
                </c:pt>
                <c:pt idx="354">
                  <c:v>119.65</c:v>
                </c:pt>
                <c:pt idx="355">
                  <c:v>120.32</c:v>
                </c:pt>
                <c:pt idx="356">
                  <c:v>120.64</c:v>
                </c:pt>
                <c:pt idx="357">
                  <c:v>120.79</c:v>
                </c:pt>
                <c:pt idx="358">
                  <c:v>120.80</c:v>
                </c:pt>
                <c:pt idx="359">
                  <c:v>121.17</c:v>
                </c:pt>
                <c:pt idx="360">
                  <c:v>120.47</c:v>
                </c:pt>
                <c:pt idx="361">
                  <c:v>120.31</c:v>
                </c:pt>
                <c:pt idx="362">
                  <c:v>119.03</c:v>
                </c:pt>
                <c:pt idx="363">
                  <c:v>120.05</c:v>
                </c:pt>
                <c:pt idx="364">
                  <c:v>121.06</c:v>
                </c:pt>
                <c:pt idx="365">
                  <c:v>121.20</c:v>
                </c:pt>
                <c:pt idx="366">
                  <c:v>121.76</c:v>
                </c:pt>
                <c:pt idx="367">
                  <c:v>120.99</c:v>
                </c:pt>
                <c:pt idx="368">
                  <c:v>120.24</c:v>
                </c:pt>
                <c:pt idx="369">
                  <c:v>120.85</c:v>
                </c:pt>
                <c:pt idx="370">
                  <c:v>120.32</c:v>
                </c:pt>
                <c:pt idx="371">
                  <c:v>120.64</c:v>
                </c:pt>
                <c:pt idx="372">
                  <c:v>121.30</c:v>
                </c:pt>
                <c:pt idx="373">
                  <c:v>121.25</c:v>
                </c:pt>
                <c:pt idx="374">
                  <c:v>121.28</c:v>
                </c:pt>
                <c:pt idx="375">
                  <c:v>121.54</c:v>
                </c:pt>
                <c:pt idx="376">
                  <c:v>121.36</c:v>
                </c:pt>
                <c:pt idx="377">
                  <c:v>121.29</c:v>
                </c:pt>
                <c:pt idx="378">
                  <c:v>121.41</c:v>
                </c:pt>
                <c:pt idx="379">
                  <c:v>121.94</c:v>
                </c:pt>
                <c:pt idx="380">
                  <c:v>122.48</c:v>
                </c:pt>
                <c:pt idx="381">
                  <c:v>121.81</c:v>
                </c:pt>
                <c:pt idx="382">
                  <c:v>121.75</c:v>
                </c:pt>
                <c:pt idx="383">
                  <c:v>121.21</c:v>
                </c:pt>
                <c:pt idx="384">
                  <c:v>120.88</c:v>
                </c:pt>
                <c:pt idx="385">
                  <c:v>120.36</c:v>
                </c:pt>
                <c:pt idx="386">
                  <c:v>120.24</c:v>
                </c:pt>
                <c:pt idx="387">
                  <c:v>118.57</c:v>
                </c:pt>
                <c:pt idx="388">
                  <c:v>117.89</c:v>
                </c:pt>
                <c:pt idx="389">
                  <c:v>116.29</c:v>
                </c:pt>
                <c:pt idx="390">
                  <c:v>115.84</c:v>
                </c:pt>
                <c:pt idx="391">
                  <c:v>116.90</c:v>
                </c:pt>
                <c:pt idx="392">
                  <c:v>115.85</c:v>
                </c:pt>
                <c:pt idx="393">
                  <c:v>116.85</c:v>
                </c:pt>
                <c:pt idx="394">
                  <c:v>116.65</c:v>
                </c:pt>
                <c:pt idx="395">
                  <c:v>117.51</c:v>
                </c:pt>
                <c:pt idx="396">
                  <c:v>118.08</c:v>
                </c:pt>
                <c:pt idx="397">
                  <c:v>119.72</c:v>
                </c:pt>
                <c:pt idx="398">
                  <c:v>120.55</c:v>
                </c:pt>
                <c:pt idx="399">
                  <c:v>120.49</c:v>
                </c:pt>
                <c:pt idx="400">
                  <c:v>120.17</c:v>
                </c:pt>
                <c:pt idx="401">
                  <c:v>119.03</c:v>
                </c:pt>
                <c:pt idx="402">
                  <c:v>119.04</c:v>
                </c:pt>
                <c:pt idx="403">
                  <c:v>118.85</c:v>
                </c:pt>
                <c:pt idx="404">
                  <c:v>118.38</c:v>
                </c:pt>
                <c:pt idx="405">
                  <c:v>118.53</c:v>
                </c:pt>
                <c:pt idx="406">
                  <c:v>119.36</c:v>
                </c:pt>
                <c:pt idx="407">
                  <c:v>120.59</c:v>
                </c:pt>
                <c:pt idx="408">
                  <c:v>120.58</c:v>
                </c:pt>
                <c:pt idx="409">
                  <c:v>120.67</c:v>
                </c:pt>
                <c:pt idx="410">
                  <c:v>121.01</c:v>
                </c:pt>
                <c:pt idx="411">
                  <c:v>120.62</c:v>
                </c:pt>
                <c:pt idx="412">
                  <c:v>121.72</c:v>
                </c:pt>
                <c:pt idx="413">
                  <c:v>121.83</c:v>
                </c:pt>
                <c:pt idx="414">
                  <c:v>122.12</c:v>
                </c:pt>
                <c:pt idx="415">
                  <c:v>121.57</c:v>
                </c:pt>
                <c:pt idx="416">
                  <c:v>121.81</c:v>
                </c:pt>
                <c:pt idx="417">
                  <c:v>121.82</c:v>
                </c:pt>
                <c:pt idx="418">
                  <c:v>121.70</c:v>
                </c:pt>
                <c:pt idx="419">
                  <c:v>122.17</c:v>
                </c:pt>
                <c:pt idx="420">
                  <c:v>123.25</c:v>
                </c:pt>
                <c:pt idx="421">
                  <c:v>123.54</c:v>
                </c:pt>
                <c:pt idx="422">
                  <c:v>123.69</c:v>
                </c:pt>
                <c:pt idx="423">
                  <c:v>123.38</c:v>
                </c:pt>
                <c:pt idx="424">
                  <c:v>122.61</c:v>
                </c:pt>
                <c:pt idx="425">
                  <c:v>122.27</c:v>
                </c:pt>
                <c:pt idx="426">
                  <c:v>122.59</c:v>
                </c:pt>
                <c:pt idx="427">
                  <c:v>121.79</c:v>
                </c:pt>
                <c:pt idx="428">
                  <c:v>121.85</c:v>
                </c:pt>
                <c:pt idx="429">
                  <c:v>120.98</c:v>
                </c:pt>
                <c:pt idx="430">
                  <c:v>122.64</c:v>
                </c:pt>
                <c:pt idx="431">
                  <c:v>122.36</c:v>
                </c:pt>
                <c:pt idx="432">
                  <c:v>122.03</c:v>
                </c:pt>
                <c:pt idx="433">
                  <c:v>122.65</c:v>
                </c:pt>
                <c:pt idx="434">
                  <c:v>123.51</c:v>
                </c:pt>
                <c:pt idx="435">
                  <c:v>124.04</c:v>
                </c:pt>
                <c:pt idx="436">
                  <c:v>123.41</c:v>
                </c:pt>
                <c:pt idx="437">
                  <c:v>122.77</c:v>
                </c:pt>
                <c:pt idx="438">
                  <c:v>122.53</c:v>
                </c:pt>
                <c:pt idx="439">
                  <c:v>123.02</c:v>
                </c:pt>
                <c:pt idx="440">
                  <c:v>122.36</c:v>
                </c:pt>
                <c:pt idx="441">
                  <c:v>122.42</c:v>
                </c:pt>
                <c:pt idx="442">
                  <c:v>120.93</c:v>
                </c:pt>
                <c:pt idx="443">
                  <c:v>121.14</c:v>
                </c:pt>
                <c:pt idx="444">
                  <c:v>120.70</c:v>
                </c:pt>
                <c:pt idx="445">
                  <c:v>120.12</c:v>
                </c:pt>
                <c:pt idx="446">
                  <c:v>119.70</c:v>
                </c:pt>
                <c:pt idx="447">
                  <c:v>119.82</c:v>
                </c:pt>
                <c:pt idx="448">
                  <c:v>120.05</c:v>
                </c:pt>
                <c:pt idx="449">
                  <c:v>119.10</c:v>
                </c:pt>
                <c:pt idx="450">
                  <c:v>117.64</c:v>
                </c:pt>
                <c:pt idx="451">
                  <c:v>117.19</c:v>
                </c:pt>
                <c:pt idx="452">
                  <c:v>117.18</c:v>
                </c:pt>
                <c:pt idx="453">
                  <c:v>118.90</c:v>
                </c:pt>
                <c:pt idx="454">
                  <c:v>119.24</c:v>
                </c:pt>
                <c:pt idx="455">
                  <c:v>119.05</c:v>
                </c:pt>
                <c:pt idx="456">
                  <c:v>118.11</c:v>
                </c:pt>
                <c:pt idx="457">
                  <c:v>118.56</c:v>
                </c:pt>
                <c:pt idx="458">
                  <c:v>118.59</c:v>
                </c:pt>
                <c:pt idx="459">
                  <c:v>120.00</c:v>
                </c:pt>
                <c:pt idx="460">
                  <c:v>119.62</c:v>
                </c:pt>
                <c:pt idx="461">
                  <c:v>120.94</c:v>
                </c:pt>
                <c:pt idx="462">
                  <c:v>120.75</c:v>
                </c:pt>
                <c:pt idx="463">
                  <c:v>120.44</c:v>
                </c:pt>
                <c:pt idx="464">
                  <c:v>120.24</c:v>
                </c:pt>
                <c:pt idx="465">
                  <c:v>119.61</c:v>
                </c:pt>
                <c:pt idx="466">
                  <c:v>117.48</c:v>
                </c:pt>
                <c:pt idx="467">
                  <c:v>117.25</c:v>
                </c:pt>
                <c:pt idx="468">
                  <c:v>117.71</c:v>
                </c:pt>
                <c:pt idx="469">
                  <c:v>118.06</c:v>
                </c:pt>
                <c:pt idx="470">
                  <c:v>117.55</c:v>
                </c:pt>
                <c:pt idx="471">
                  <c:v>116.55</c:v>
                </c:pt>
                <c:pt idx="472">
                  <c:v>115.85</c:v>
                </c:pt>
                <c:pt idx="473">
                  <c:v>115.00</c:v>
                </c:pt>
                <c:pt idx="474">
                  <c:v>115.59</c:v>
                </c:pt>
                <c:pt idx="475">
                  <c:v>117.26</c:v>
                </c:pt>
                <c:pt idx="476">
                  <c:v>117.85</c:v>
                </c:pt>
                <c:pt idx="477">
                  <c:v>118.46</c:v>
                </c:pt>
                <c:pt idx="478">
                  <c:v>118.20</c:v>
                </c:pt>
                <c:pt idx="479">
                  <c:v>118.96</c:v>
                </c:pt>
                <c:pt idx="480">
                  <c:v>118.54</c:v>
                </c:pt>
                <c:pt idx="481">
                  <c:v>118.58</c:v>
                </c:pt>
                <c:pt idx="482">
                  <c:v>118.48</c:v>
                </c:pt>
                <c:pt idx="483">
                  <c:v>117.62</c:v>
                </c:pt>
                <c:pt idx="484">
                  <c:v>117.10</c:v>
                </c:pt>
                <c:pt idx="485">
                  <c:v>116.27</c:v>
                </c:pt>
                <c:pt idx="486">
                  <c:v>115.67</c:v>
                </c:pt>
                <c:pt idx="487">
                  <c:v>116.09</c:v>
                </c:pt>
                <c:pt idx="488">
                  <c:v>117.12</c:v>
                </c:pt>
                <c:pt idx="489">
                  <c:v>117.64</c:v>
                </c:pt>
                <c:pt idx="490">
                  <c:v>117.25</c:v>
                </c:pt>
                <c:pt idx="491">
                  <c:v>117.45</c:v>
                </c:pt>
                <c:pt idx="492">
                  <c:v>117.23</c:v>
                </c:pt>
                <c:pt idx="493">
                  <c:v>116.76</c:v>
                </c:pt>
                <c:pt idx="494">
                  <c:v>116.39</c:v>
                </c:pt>
                <c:pt idx="495">
                  <c:v>117.11</c:v>
                </c:pt>
                <c:pt idx="496">
                  <c:v>116.27</c:v>
                </c:pt>
                <c:pt idx="497">
                  <c:v>115.92</c:v>
                </c:pt>
                <c:pt idx="498">
                  <c:v>115.77</c:v>
                </c:pt>
                <c:pt idx="499">
                  <c:v>116.00</c:v>
                </c:pt>
                <c:pt idx="500">
                  <c:v>115.71</c:v>
                </c:pt>
                <c:pt idx="501">
                  <c:v>115.24</c:v>
                </c:pt>
                <c:pt idx="502">
                  <c:v>114.56</c:v>
                </c:pt>
                <c:pt idx="503">
                  <c:v>113.52</c:v>
                </c:pt>
                <c:pt idx="504">
                  <c:v>111.29</c:v>
                </c:pt>
                <c:pt idx="505">
                  <c:v>106.71</c:v>
                </c:pt>
                <c:pt idx="506">
                  <c:v>107.49</c:v>
                </c:pt>
                <c:pt idx="507">
                  <c:v>107.38</c:v>
                </c:pt>
                <c:pt idx="508">
                  <c:v>109.58</c:v>
                </c:pt>
                <c:pt idx="509">
                  <c:v>109.76</c:v>
                </c:pt>
                <c:pt idx="510">
                  <c:v>109.13</c:v>
                </c:pt>
              </c:numCache>
            </c:numRef>
          </c:val>
        </c:ser>
        <c:ser>
          <c:idx val="1"/>
          <c:order val="1"/>
          <c:tx>
            <c:strRef>
              <c:f>Sheet1!$C$1</c:f>
              <c:strCache>
                <c:ptCount val="1"/>
                <c:pt idx="0">
                  <c:v>Benchmark 1</c:v>
                </c:pt>
              </c:strCache>
            </c:strRef>
          </c:tx>
          <c:spPr>
            <a:ln w="19050">
              <a:solidFill>
                <a:schemeClr val="accent2"/>
              </a:solidFill>
              <a:prstDash val="solid"/>
            </a:ln>
          </c:spPr>
          <c:marker>
            <c:symbol val="none"/>
          </c:marker>
          <c:cat>
            <c:strRef>
              <c:f>Sheet1!$A$2:$A$352</c:f>
              <c:strCache>
                <c:ptCount val="351"/>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un-13 </c:v>
                </c:pt>
                <c:pt idx="289">
                  <c:v>Jun-13 </c:v>
                </c:pt>
                <c:pt idx="290">
                  <c:v>Jun-13 </c:v>
                </c:pt>
                <c:pt idx="291">
                  <c:v>Jul-13</c:v>
                </c:pt>
                <c:pt idx="292">
                  <c:v>Jul-13</c:v>
                </c:pt>
                <c:pt idx="293">
                  <c:v>Jul-13</c:v>
                </c:pt>
                <c:pt idx="294">
                  <c:v>Jul-13</c:v>
                </c:pt>
                <c:pt idx="295">
                  <c:v>Jul-13</c:v>
                </c:pt>
                <c:pt idx="296">
                  <c:v>Jul-13</c:v>
                </c:pt>
                <c:pt idx="297">
                  <c:v>Jul-13</c:v>
                </c:pt>
                <c:pt idx="298">
                  <c:v>Jul-13</c:v>
                </c:pt>
                <c:pt idx="299">
                  <c:v>Jul-13</c:v>
                </c:pt>
                <c:pt idx="300">
                  <c:v>Jul-13</c:v>
                </c:pt>
                <c:pt idx="301">
                  <c:v>Jul-13</c:v>
                </c:pt>
                <c:pt idx="302">
                  <c:v>Jul-13</c:v>
                </c:pt>
                <c:pt idx="303">
                  <c:v>Jul-13</c:v>
                </c:pt>
                <c:pt idx="304">
                  <c:v>Jul-13</c:v>
                </c:pt>
                <c:pt idx="305">
                  <c:v>Jul-13</c:v>
                </c:pt>
                <c:pt idx="306">
                  <c:v>Jul-13</c:v>
                </c:pt>
                <c:pt idx="307">
                  <c:v>Jul-13</c:v>
                </c:pt>
                <c:pt idx="308">
                  <c:v>Jul-13</c:v>
                </c:pt>
                <c:pt idx="309">
                  <c:v>Jul-13</c:v>
                </c:pt>
                <c:pt idx="310">
                  <c:v>Jul-13</c:v>
                </c:pt>
                <c:pt idx="311">
                  <c:v>Jul-13</c:v>
                </c:pt>
                <c:pt idx="312">
                  <c:v>Jul-13</c:v>
                </c:pt>
                <c:pt idx="313">
                  <c:v>Jul-13</c:v>
                </c:pt>
                <c:pt idx="314">
                  <c:v>Aug-13 </c:v>
                </c:pt>
                <c:pt idx="315">
                  <c:v>Aug-13 </c:v>
                </c:pt>
                <c:pt idx="316">
                  <c:v>Aug-13 </c:v>
                </c:pt>
                <c:pt idx="317">
                  <c:v>Aug-13 </c:v>
                </c:pt>
                <c:pt idx="318">
                  <c:v>Aug-13 </c:v>
                </c:pt>
                <c:pt idx="319">
                  <c:v>Aug-13 </c:v>
                </c:pt>
                <c:pt idx="320">
                  <c:v>Aug-13 </c:v>
                </c:pt>
                <c:pt idx="321">
                  <c:v>Aug-13 </c:v>
                </c:pt>
                <c:pt idx="322">
                  <c:v>Aug-13 </c:v>
                </c:pt>
                <c:pt idx="323">
                  <c:v>Aug-13 </c:v>
                </c:pt>
                <c:pt idx="324">
                  <c:v>Aug-13 </c:v>
                </c:pt>
                <c:pt idx="325">
                  <c:v>Aug-13 </c:v>
                </c:pt>
                <c:pt idx="326">
                  <c:v>Aug-13 </c:v>
                </c:pt>
                <c:pt idx="327">
                  <c:v>Aug-13 </c:v>
                </c:pt>
                <c:pt idx="328">
                  <c:v>Aug-13 </c:v>
                </c:pt>
                <c:pt idx="329">
                  <c:v>Aug-13 </c:v>
                </c:pt>
                <c:pt idx="330">
                  <c:v>Aug-13 </c:v>
                </c:pt>
                <c:pt idx="331">
                  <c:v>Aug-13 </c:v>
                </c:pt>
                <c:pt idx="332">
                  <c:v>Aug-13 </c:v>
                </c:pt>
                <c:pt idx="333">
                  <c:v>Aug-13 </c:v>
                </c:pt>
                <c:pt idx="334">
                  <c:v>Aug-13 </c:v>
                </c:pt>
                <c:pt idx="335">
                  <c:v>Aug-13 </c:v>
                </c:pt>
                <c:pt idx="336">
                  <c:v>Sep-13</c:v>
                </c:pt>
                <c:pt idx="337">
                  <c:v>Sep-13</c:v>
                </c:pt>
                <c:pt idx="338">
                  <c:v>Sep-13</c:v>
                </c:pt>
                <c:pt idx="339">
                  <c:v>Sep-13</c:v>
                </c:pt>
                <c:pt idx="340">
                  <c:v>Sep-13</c:v>
                </c:pt>
                <c:pt idx="341">
                  <c:v>Sep-13</c:v>
                </c:pt>
                <c:pt idx="342">
                  <c:v>Sep-13</c:v>
                </c:pt>
                <c:pt idx="343">
                  <c:v>Sep-13</c:v>
                </c:pt>
                <c:pt idx="344">
                  <c:v>Sep-13</c:v>
                </c:pt>
                <c:pt idx="345">
                  <c:v>Sep-13</c:v>
                </c:pt>
                <c:pt idx="346">
                  <c:v>Sep-13</c:v>
                </c:pt>
                <c:pt idx="347">
                  <c:v>Sep-13</c:v>
                </c:pt>
                <c:pt idx="348">
                  <c:v>Sep-13</c:v>
                </c:pt>
                <c:pt idx="349">
                  <c:v>Sep-13</c:v>
                </c:pt>
                <c:pt idx="350">
                  <c:v>Sep-13</c:v>
                </c:pt>
              </c:strCache>
            </c:strRef>
          </c:cat>
          <c:val>
            <c:numRef>
              <c:f>Sheet0!$C$2:$C$512</c:f>
              <c:numCache>
                <c:formatCode>General</c:formatCode>
                <c:ptCount val="511"/>
                <c:pt idx="0">
                  <c:v>100.02</c:v>
                </c:pt>
                <c:pt idx="1">
                  <c:v>100.64</c:v>
                </c:pt>
                <c:pt idx="2">
                  <c:v>101.01</c:v>
                </c:pt>
                <c:pt idx="3">
                  <c:v>101.70</c:v>
                </c:pt>
                <c:pt idx="4">
                  <c:v>101.79</c:v>
                </c:pt>
                <c:pt idx="5">
                  <c:v>102.13</c:v>
                </c:pt>
                <c:pt idx="6">
                  <c:v>103.07</c:v>
                </c:pt>
                <c:pt idx="7">
                  <c:v>104.01</c:v>
                </c:pt>
                <c:pt idx="8">
                  <c:v>104.45</c:v>
                </c:pt>
                <c:pt idx="9">
                  <c:v>104.30</c:v>
                </c:pt>
                <c:pt idx="10">
                  <c:v>104.34</c:v>
                </c:pt>
                <c:pt idx="11">
                  <c:v>105.23</c:v>
                </c:pt>
                <c:pt idx="12">
                  <c:v>105.26</c:v>
                </c:pt>
                <c:pt idx="13">
                  <c:v>106.20</c:v>
                </c:pt>
                <c:pt idx="14">
                  <c:v>107.03</c:v>
                </c:pt>
                <c:pt idx="15">
                  <c:v>106.39</c:v>
                </c:pt>
                <c:pt idx="16">
                  <c:v>106.04</c:v>
                </c:pt>
                <c:pt idx="17">
                  <c:v>105.90</c:v>
                </c:pt>
                <c:pt idx="18">
                  <c:v>105.79</c:v>
                </c:pt>
                <c:pt idx="19">
                  <c:v>106.06</c:v>
                </c:pt>
                <c:pt idx="20">
                  <c:v>105.97</c:v>
                </c:pt>
                <c:pt idx="21">
                  <c:v>105.17</c:v>
                </c:pt>
                <c:pt idx="22">
                  <c:v>105.84</c:v>
                </c:pt>
                <c:pt idx="23">
                  <c:v>105.68</c:v>
                </c:pt>
                <c:pt idx="24">
                  <c:v>105.14</c:v>
                </c:pt>
                <c:pt idx="25">
                  <c:v>105.45</c:v>
                </c:pt>
                <c:pt idx="26">
                  <c:v>104.68</c:v>
                </c:pt>
                <c:pt idx="27">
                  <c:v>103.83</c:v>
                </c:pt>
                <c:pt idx="28">
                  <c:v>103.63</c:v>
                </c:pt>
                <c:pt idx="29">
                  <c:v>105.38</c:v>
                </c:pt>
                <c:pt idx="30">
                  <c:v>106.17</c:v>
                </c:pt>
                <c:pt idx="31">
                  <c:v>106.54</c:v>
                </c:pt>
                <c:pt idx="32">
                  <c:v>106.25</c:v>
                </c:pt>
                <c:pt idx="33">
                  <c:v>107.04</c:v>
                </c:pt>
                <c:pt idx="34">
                  <c:v>108.18</c:v>
                </c:pt>
                <c:pt idx="35">
                  <c:v>108.97</c:v>
                </c:pt>
                <c:pt idx="36">
                  <c:v>109.08</c:v>
                </c:pt>
                <c:pt idx="37">
                  <c:v>109.83</c:v>
                </c:pt>
                <c:pt idx="38">
                  <c:v>109.23</c:v>
                </c:pt>
                <c:pt idx="39">
                  <c:v>109.65</c:v>
                </c:pt>
                <c:pt idx="40">
                  <c:v>109.61</c:v>
                </c:pt>
                <c:pt idx="41">
                  <c:v>109.78</c:v>
                </c:pt>
                <c:pt idx="42">
                  <c:v>110.04</c:v>
                </c:pt>
                <c:pt idx="43">
                  <c:v>109.91</c:v>
                </c:pt>
                <c:pt idx="44">
                  <c:v>109.31</c:v>
                </c:pt>
                <c:pt idx="45">
                  <c:v>108.93</c:v>
                </c:pt>
                <c:pt idx="46">
                  <c:v>109.33</c:v>
                </c:pt>
                <c:pt idx="47">
                  <c:v>109.05</c:v>
                </c:pt>
                <c:pt idx="48">
                  <c:v>109.69</c:v>
                </c:pt>
                <c:pt idx="49">
                  <c:v>108.41</c:v>
                </c:pt>
                <c:pt idx="50">
                  <c:v>108.89</c:v>
                </c:pt>
                <c:pt idx="51">
                  <c:v>109.22</c:v>
                </c:pt>
                <c:pt idx="52">
                  <c:v>109.10</c:v>
                </c:pt>
                <c:pt idx="53">
                  <c:v>109.30</c:v>
                </c:pt>
                <c:pt idx="54">
                  <c:v>110.09</c:v>
                </c:pt>
                <c:pt idx="55">
                  <c:v>110.69</c:v>
                </c:pt>
                <c:pt idx="56">
                  <c:v>110.81</c:v>
                </c:pt>
                <c:pt idx="57">
                  <c:v>110.38</c:v>
                </c:pt>
                <c:pt idx="58">
                  <c:v>110.03</c:v>
                </c:pt>
                <c:pt idx="59">
                  <c:v>110.36</c:v>
                </c:pt>
                <c:pt idx="60">
                  <c:v>110.83</c:v>
                </c:pt>
                <c:pt idx="61">
                  <c:v>110.88</c:v>
                </c:pt>
                <c:pt idx="62">
                  <c:v>110.78</c:v>
                </c:pt>
                <c:pt idx="63">
                  <c:v>110.98</c:v>
                </c:pt>
                <c:pt idx="64">
                  <c:v>111.29</c:v>
                </c:pt>
                <c:pt idx="65">
                  <c:v>111.26</c:v>
                </c:pt>
                <c:pt idx="66">
                  <c:v>110.77</c:v>
                </c:pt>
                <c:pt idx="67">
                  <c:v>110.22</c:v>
                </c:pt>
                <c:pt idx="68">
                  <c:v>109.63</c:v>
                </c:pt>
                <c:pt idx="69">
                  <c:v>109.23</c:v>
                </c:pt>
                <c:pt idx="70">
                  <c:v>110.16</c:v>
                </c:pt>
                <c:pt idx="71">
                  <c:v>110.53</c:v>
                </c:pt>
                <c:pt idx="72">
                  <c:v>110.31</c:v>
                </c:pt>
                <c:pt idx="73">
                  <c:v>109.38</c:v>
                </c:pt>
                <c:pt idx="74">
                  <c:v>108.60</c:v>
                </c:pt>
                <c:pt idx="75">
                  <c:v>108.50</c:v>
                </c:pt>
                <c:pt idx="76">
                  <c:v>109.21</c:v>
                </c:pt>
                <c:pt idx="77">
                  <c:v>108.83</c:v>
                </c:pt>
                <c:pt idx="78">
                  <c:v>110.26</c:v>
                </c:pt>
                <c:pt idx="79">
                  <c:v>110.60</c:v>
                </c:pt>
                <c:pt idx="80">
                  <c:v>111.16</c:v>
                </c:pt>
                <c:pt idx="81">
                  <c:v>111.89</c:v>
                </c:pt>
                <c:pt idx="82">
                  <c:v>112.04</c:v>
                </c:pt>
                <c:pt idx="83">
                  <c:v>113.09</c:v>
                </c:pt>
                <c:pt idx="84">
                  <c:v>113.26</c:v>
                </c:pt>
                <c:pt idx="85">
                  <c:v>113.58</c:v>
                </c:pt>
                <c:pt idx="86">
                  <c:v>112.54</c:v>
                </c:pt>
                <c:pt idx="87">
                  <c:v>112.63</c:v>
                </c:pt>
                <c:pt idx="88">
                  <c:v>112.29</c:v>
                </c:pt>
                <c:pt idx="89">
                  <c:v>112.70</c:v>
                </c:pt>
                <c:pt idx="90">
                  <c:v>112.93</c:v>
                </c:pt>
                <c:pt idx="91">
                  <c:v>112.67</c:v>
                </c:pt>
                <c:pt idx="92">
                  <c:v>113.30</c:v>
                </c:pt>
                <c:pt idx="93">
                  <c:v>112.69</c:v>
                </c:pt>
                <c:pt idx="94">
                  <c:v>113.07</c:v>
                </c:pt>
                <c:pt idx="95">
                  <c:v>113.63</c:v>
                </c:pt>
                <c:pt idx="96">
                  <c:v>113.57</c:v>
                </c:pt>
                <c:pt idx="97">
                  <c:v>113.45</c:v>
                </c:pt>
                <c:pt idx="98">
                  <c:v>113.41</c:v>
                </c:pt>
                <c:pt idx="99">
                  <c:v>113.57</c:v>
                </c:pt>
                <c:pt idx="100">
                  <c:v>113.74</c:v>
                </c:pt>
                <c:pt idx="101">
                  <c:v>113.00</c:v>
                </c:pt>
                <c:pt idx="102">
                  <c:v>110.82</c:v>
                </c:pt>
                <c:pt idx="103">
                  <c:v>109.85</c:v>
                </c:pt>
                <c:pt idx="104">
                  <c:v>110.29</c:v>
                </c:pt>
                <c:pt idx="105">
                  <c:v>109.85</c:v>
                </c:pt>
                <c:pt idx="106">
                  <c:v>110.04</c:v>
                </c:pt>
                <c:pt idx="107">
                  <c:v>109.45</c:v>
                </c:pt>
                <c:pt idx="108">
                  <c:v>107.66</c:v>
                </c:pt>
                <c:pt idx="109">
                  <c:v>107.43</c:v>
                </c:pt>
                <c:pt idx="110">
                  <c:v>107.65</c:v>
                </c:pt>
                <c:pt idx="111">
                  <c:v>109.07</c:v>
                </c:pt>
                <c:pt idx="112">
                  <c:v>110.40</c:v>
                </c:pt>
                <c:pt idx="113">
                  <c:v>110.75</c:v>
                </c:pt>
                <c:pt idx="114">
                  <c:v>111.96</c:v>
                </c:pt>
                <c:pt idx="115">
                  <c:v>112.24</c:v>
                </c:pt>
                <c:pt idx="116">
                  <c:v>112.59</c:v>
                </c:pt>
                <c:pt idx="117">
                  <c:v>113.06</c:v>
                </c:pt>
                <c:pt idx="118">
                  <c:v>113.32</c:v>
                </c:pt>
                <c:pt idx="119">
                  <c:v>113.82</c:v>
                </c:pt>
                <c:pt idx="120">
                  <c:v>113.48</c:v>
                </c:pt>
                <c:pt idx="121">
                  <c:v>113.50</c:v>
                </c:pt>
                <c:pt idx="122">
                  <c:v>113.82</c:v>
                </c:pt>
                <c:pt idx="123">
                  <c:v>114.41</c:v>
                </c:pt>
                <c:pt idx="124">
                  <c:v>114.53</c:v>
                </c:pt>
                <c:pt idx="125">
                  <c:v>114.21</c:v>
                </c:pt>
                <c:pt idx="126">
                  <c:v>114.47</c:v>
                </c:pt>
                <c:pt idx="127">
                  <c:v>114.98</c:v>
                </c:pt>
                <c:pt idx="128">
                  <c:v>113.60</c:v>
                </c:pt>
                <c:pt idx="129">
                  <c:v>115.13</c:v>
                </c:pt>
                <c:pt idx="130">
                  <c:v>115.26</c:v>
                </c:pt>
                <c:pt idx="131">
                  <c:v>115.79</c:v>
                </c:pt>
                <c:pt idx="132">
                  <c:v>115.48</c:v>
                </c:pt>
                <c:pt idx="133">
                  <c:v>115.16</c:v>
                </c:pt>
                <c:pt idx="134">
                  <c:v>114.89</c:v>
                </c:pt>
                <c:pt idx="135">
                  <c:v>114.45</c:v>
                </c:pt>
                <c:pt idx="136">
                  <c:v>113.54</c:v>
                </c:pt>
                <c:pt idx="137">
                  <c:v>112.77</c:v>
                </c:pt>
                <c:pt idx="138">
                  <c:v>113.65</c:v>
                </c:pt>
                <c:pt idx="139">
                  <c:v>114.45</c:v>
                </c:pt>
                <c:pt idx="140">
                  <c:v>113.96</c:v>
                </c:pt>
                <c:pt idx="141">
                  <c:v>113.64</c:v>
                </c:pt>
                <c:pt idx="142">
                  <c:v>113.58</c:v>
                </c:pt>
                <c:pt idx="143">
                  <c:v>113.09</c:v>
                </c:pt>
                <c:pt idx="144">
                  <c:v>113.76</c:v>
                </c:pt>
                <c:pt idx="145">
                  <c:v>113.73</c:v>
                </c:pt>
                <c:pt idx="146">
                  <c:v>113.77</c:v>
                </c:pt>
                <c:pt idx="147">
                  <c:v>114.36</c:v>
                </c:pt>
                <c:pt idx="148">
                  <c:v>115.21</c:v>
                </c:pt>
                <c:pt idx="149">
                  <c:v>115.88</c:v>
                </c:pt>
                <c:pt idx="150">
                  <c:v>116.14</c:v>
                </c:pt>
                <c:pt idx="151">
                  <c:v>115.98</c:v>
                </c:pt>
                <c:pt idx="152">
                  <c:v>115.44</c:v>
                </c:pt>
                <c:pt idx="153">
                  <c:v>114.27</c:v>
                </c:pt>
                <c:pt idx="154">
                  <c:v>114.54</c:v>
                </c:pt>
                <c:pt idx="155">
                  <c:v>115.31</c:v>
                </c:pt>
                <c:pt idx="156">
                  <c:v>114.06</c:v>
                </c:pt>
                <c:pt idx="157">
                  <c:v>112.83</c:v>
                </c:pt>
                <c:pt idx="158">
                  <c:v>113.21</c:v>
                </c:pt>
                <c:pt idx="159">
                  <c:v>113.36</c:v>
                </c:pt>
                <c:pt idx="160">
                  <c:v>114.64</c:v>
                </c:pt>
                <c:pt idx="161">
                  <c:v>115.02</c:v>
                </c:pt>
                <c:pt idx="162">
                  <c:v>115.88</c:v>
                </c:pt>
                <c:pt idx="163">
                  <c:v>115.74</c:v>
                </c:pt>
                <c:pt idx="164">
                  <c:v>115.87</c:v>
                </c:pt>
                <c:pt idx="165">
                  <c:v>115.18</c:v>
                </c:pt>
                <c:pt idx="166">
                  <c:v>115.29</c:v>
                </c:pt>
                <c:pt idx="167">
                  <c:v>115.96</c:v>
                </c:pt>
                <c:pt idx="168">
                  <c:v>116.34</c:v>
                </c:pt>
                <c:pt idx="169">
                  <c:v>116.55</c:v>
                </c:pt>
                <c:pt idx="170">
                  <c:v>116.50</c:v>
                </c:pt>
                <c:pt idx="171">
                  <c:v>116.59</c:v>
                </c:pt>
                <c:pt idx="172">
                  <c:v>116.20</c:v>
                </c:pt>
                <c:pt idx="173">
                  <c:v>116.22</c:v>
                </c:pt>
                <c:pt idx="174">
                  <c:v>116.48</c:v>
                </c:pt>
                <c:pt idx="175">
                  <c:v>116.25</c:v>
                </c:pt>
                <c:pt idx="176">
                  <c:v>117.06</c:v>
                </c:pt>
                <c:pt idx="177">
                  <c:v>117.31</c:v>
                </c:pt>
                <c:pt idx="178">
                  <c:v>117.17</c:v>
                </c:pt>
                <c:pt idx="179">
                  <c:v>116.31</c:v>
                </c:pt>
                <c:pt idx="180">
                  <c:v>116.36</c:v>
                </c:pt>
                <c:pt idx="181">
                  <c:v>116.51</c:v>
                </c:pt>
                <c:pt idx="182">
                  <c:v>116.03</c:v>
                </c:pt>
                <c:pt idx="183">
                  <c:v>116.63</c:v>
                </c:pt>
                <c:pt idx="184">
                  <c:v>117.08</c:v>
                </c:pt>
                <c:pt idx="185">
                  <c:v>117.48</c:v>
                </c:pt>
                <c:pt idx="186">
                  <c:v>117.88</c:v>
                </c:pt>
                <c:pt idx="187">
                  <c:v>118.19</c:v>
                </c:pt>
                <c:pt idx="188">
                  <c:v>118.13</c:v>
                </c:pt>
                <c:pt idx="189">
                  <c:v>118.64</c:v>
                </c:pt>
                <c:pt idx="190">
                  <c:v>118.77</c:v>
                </c:pt>
                <c:pt idx="191">
                  <c:v>118.97</c:v>
                </c:pt>
                <c:pt idx="192">
                  <c:v>118.88</c:v>
                </c:pt>
                <c:pt idx="193">
                  <c:v>119.03</c:v>
                </c:pt>
                <c:pt idx="194">
                  <c:v>119.57</c:v>
                </c:pt>
                <c:pt idx="195">
                  <c:v>120.21</c:v>
                </c:pt>
                <c:pt idx="196">
                  <c:v>120.31</c:v>
                </c:pt>
                <c:pt idx="197">
                  <c:v>120.26</c:v>
                </c:pt>
                <c:pt idx="198">
                  <c:v>120.00</c:v>
                </c:pt>
                <c:pt idx="199">
                  <c:v>119.63</c:v>
                </c:pt>
                <c:pt idx="200">
                  <c:v>119.72</c:v>
                </c:pt>
                <c:pt idx="201">
                  <c:v>119.69</c:v>
                </c:pt>
                <c:pt idx="202">
                  <c:v>119.80</c:v>
                </c:pt>
                <c:pt idx="203">
                  <c:v>120.43</c:v>
                </c:pt>
                <c:pt idx="204">
                  <c:v>121.22</c:v>
                </c:pt>
                <c:pt idx="205">
                  <c:v>121.12</c:v>
                </c:pt>
                <c:pt idx="206">
                  <c:v>121.03</c:v>
                </c:pt>
                <c:pt idx="207">
                  <c:v>120.45</c:v>
                </c:pt>
                <c:pt idx="208">
                  <c:v>120.47</c:v>
                </c:pt>
                <c:pt idx="209">
                  <c:v>120.45</c:v>
                </c:pt>
                <c:pt idx="210">
                  <c:v>120.69</c:v>
                </c:pt>
                <c:pt idx="211">
                  <c:v>120.88</c:v>
                </c:pt>
                <c:pt idx="212">
                  <c:v>121.69</c:v>
                </c:pt>
                <c:pt idx="213">
                  <c:v>121.83</c:v>
                </c:pt>
                <c:pt idx="214">
                  <c:v>122.33</c:v>
                </c:pt>
                <c:pt idx="215">
                  <c:v>122.29</c:v>
                </c:pt>
                <c:pt idx="216">
                  <c:v>121.68</c:v>
                </c:pt>
                <c:pt idx="217">
                  <c:v>120.79</c:v>
                </c:pt>
                <c:pt idx="218">
                  <c:v>121.07</c:v>
                </c:pt>
                <c:pt idx="219">
                  <c:v>120.26</c:v>
                </c:pt>
                <c:pt idx="220">
                  <c:v>120.38</c:v>
                </c:pt>
                <c:pt idx="221">
                  <c:v>121.15</c:v>
                </c:pt>
                <c:pt idx="222">
                  <c:v>120.77</c:v>
                </c:pt>
                <c:pt idx="223">
                  <c:v>121.48</c:v>
                </c:pt>
                <c:pt idx="224">
                  <c:v>120.38</c:v>
                </c:pt>
                <c:pt idx="225">
                  <c:v>120.96</c:v>
                </c:pt>
                <c:pt idx="226">
                  <c:v>120.69</c:v>
                </c:pt>
                <c:pt idx="227">
                  <c:v>121.43</c:v>
                </c:pt>
                <c:pt idx="228">
                  <c:v>121.68</c:v>
                </c:pt>
                <c:pt idx="229">
                  <c:v>121.82</c:v>
                </c:pt>
                <c:pt idx="230">
                  <c:v>121.29</c:v>
                </c:pt>
                <c:pt idx="231">
                  <c:v>121.29</c:v>
                </c:pt>
                <c:pt idx="232">
                  <c:v>121.02</c:v>
                </c:pt>
                <c:pt idx="233">
                  <c:v>120.76</c:v>
                </c:pt>
                <c:pt idx="234">
                  <c:v>119.00</c:v>
                </c:pt>
                <c:pt idx="235">
                  <c:v>118.40</c:v>
                </c:pt>
                <c:pt idx="236">
                  <c:v>118.68</c:v>
                </c:pt>
                <c:pt idx="237">
                  <c:v>117.85</c:v>
                </c:pt>
                <c:pt idx="238">
                  <c:v>117.50</c:v>
                </c:pt>
                <c:pt idx="239">
                  <c:v>116.95</c:v>
                </c:pt>
                <c:pt idx="240">
                  <c:v>117.29</c:v>
                </c:pt>
                <c:pt idx="241">
                  <c:v>118.12</c:v>
                </c:pt>
                <c:pt idx="242">
                  <c:v>117.98</c:v>
                </c:pt>
                <c:pt idx="243">
                  <c:v>118.68</c:v>
                </c:pt>
                <c:pt idx="244">
                  <c:v>119.19</c:v>
                </c:pt>
                <c:pt idx="245">
                  <c:v>119.10</c:v>
                </c:pt>
                <c:pt idx="246">
                  <c:v>120.00</c:v>
                </c:pt>
                <c:pt idx="247">
                  <c:v>120.55</c:v>
                </c:pt>
                <c:pt idx="248">
                  <c:v>120.61</c:v>
                </c:pt>
                <c:pt idx="249">
                  <c:v>121.05</c:v>
                </c:pt>
                <c:pt idx="250">
                  <c:v>120.64</c:v>
                </c:pt>
                <c:pt idx="251">
                  <c:v>121.31</c:v>
                </c:pt>
                <c:pt idx="252">
                  <c:v>121.59</c:v>
                </c:pt>
                <c:pt idx="253">
                  <c:v>121.73</c:v>
                </c:pt>
                <c:pt idx="254">
                  <c:v>121.28</c:v>
                </c:pt>
                <c:pt idx="255">
                  <c:v>121.56</c:v>
                </c:pt>
                <c:pt idx="256">
                  <c:v>121.55</c:v>
                </c:pt>
                <c:pt idx="257">
                  <c:v>121.49</c:v>
                </c:pt>
                <c:pt idx="258">
                  <c:v>121.86</c:v>
                </c:pt>
                <c:pt idx="259">
                  <c:v>121.63</c:v>
                </c:pt>
                <c:pt idx="260">
                  <c:v>121.75</c:v>
                </c:pt>
                <c:pt idx="261">
                  <c:v>121.31</c:v>
                </c:pt>
                <c:pt idx="262">
                  <c:v>120.56</c:v>
                </c:pt>
                <c:pt idx="263">
                  <c:v>120.74</c:v>
                </c:pt>
                <c:pt idx="264">
                  <c:v>120.83</c:v>
                </c:pt>
                <c:pt idx="265">
                  <c:v>120.33</c:v>
                </c:pt>
                <c:pt idx="266">
                  <c:v>120.15</c:v>
                </c:pt>
                <c:pt idx="267">
                  <c:v>120.50</c:v>
                </c:pt>
                <c:pt idx="268">
                  <c:v>120.69</c:v>
                </c:pt>
                <c:pt idx="269">
                  <c:v>121.21</c:v>
                </c:pt>
                <c:pt idx="270">
                  <c:v>121.06</c:v>
                </c:pt>
                <c:pt idx="271">
                  <c:v>120.13</c:v>
                </c:pt>
                <c:pt idx="272">
                  <c:v>119.45</c:v>
                </c:pt>
                <c:pt idx="273">
                  <c:v>119.95</c:v>
                </c:pt>
                <c:pt idx="274">
                  <c:v>118.60</c:v>
                </c:pt>
                <c:pt idx="275">
                  <c:v>118.95</c:v>
                </c:pt>
                <c:pt idx="276">
                  <c:v>118.55</c:v>
                </c:pt>
                <c:pt idx="277">
                  <c:v>118.31</c:v>
                </c:pt>
                <c:pt idx="278">
                  <c:v>117.00</c:v>
                </c:pt>
                <c:pt idx="279">
                  <c:v>116.17</c:v>
                </c:pt>
                <c:pt idx="280">
                  <c:v>116.67</c:v>
                </c:pt>
                <c:pt idx="281">
                  <c:v>117.02</c:v>
                </c:pt>
                <c:pt idx="282">
                  <c:v>115.77</c:v>
                </c:pt>
                <c:pt idx="283">
                  <c:v>116.55</c:v>
                </c:pt>
                <c:pt idx="284">
                  <c:v>115.18</c:v>
                </c:pt>
                <c:pt idx="285">
                  <c:v>113.36</c:v>
                </c:pt>
                <c:pt idx="286">
                  <c:v>112.50</c:v>
                </c:pt>
                <c:pt idx="287">
                  <c:v>112.29</c:v>
                </c:pt>
                <c:pt idx="288">
                  <c:v>111.23</c:v>
                </c:pt>
                <c:pt idx="289">
                  <c:v>111.01</c:v>
                </c:pt>
                <c:pt idx="290">
                  <c:v>112.46</c:v>
                </c:pt>
                <c:pt idx="291">
                  <c:v>113.38</c:v>
                </c:pt>
                <c:pt idx="292">
                  <c:v>115.09</c:v>
                </c:pt>
                <c:pt idx="293">
                  <c:v>114.90</c:v>
                </c:pt>
                <c:pt idx="294">
                  <c:v>115.74</c:v>
                </c:pt>
                <c:pt idx="295">
                  <c:v>116.31</c:v>
                </c:pt>
                <c:pt idx="296">
                  <c:v>116.26</c:v>
                </c:pt>
                <c:pt idx="297">
                  <c:v>117.46</c:v>
                </c:pt>
                <c:pt idx="298">
                  <c:v>117.62</c:v>
                </c:pt>
                <c:pt idx="299">
                  <c:v>117.82</c:v>
                </c:pt>
                <c:pt idx="300">
                  <c:v>119.15</c:v>
                </c:pt>
                <c:pt idx="301">
                  <c:v>118.50</c:v>
                </c:pt>
                <c:pt idx="302">
                  <c:v>118.55</c:v>
                </c:pt>
                <c:pt idx="303">
                  <c:v>119.12</c:v>
                </c:pt>
                <c:pt idx="304">
                  <c:v>119.19</c:v>
                </c:pt>
                <c:pt idx="305">
                  <c:v>119.15</c:v>
                </c:pt>
                <c:pt idx="306">
                  <c:v>119.71</c:v>
                </c:pt>
                <c:pt idx="307">
                  <c:v>119.87</c:v>
                </c:pt>
                <c:pt idx="308">
                  <c:v>119.76</c:v>
                </c:pt>
                <c:pt idx="309">
                  <c:v>119.89</c:v>
                </c:pt>
                <c:pt idx="310">
                  <c:v>119.97</c:v>
                </c:pt>
                <c:pt idx="311">
                  <c:v>119.79</c:v>
                </c:pt>
                <c:pt idx="312">
                  <c:v>120.79</c:v>
                </c:pt>
                <c:pt idx="313">
                  <c:v>120.53</c:v>
                </c:pt>
                <c:pt idx="314">
                  <c:v>120.56</c:v>
                </c:pt>
                <c:pt idx="315">
                  <c:v>121.38</c:v>
                </c:pt>
                <c:pt idx="316">
                  <c:v>121.58</c:v>
                </c:pt>
                <c:pt idx="317">
                  <c:v>121.79</c:v>
                </c:pt>
                <c:pt idx="318">
                  <c:v>122.18</c:v>
                </c:pt>
                <c:pt idx="319">
                  <c:v>121.97</c:v>
                </c:pt>
                <c:pt idx="320">
                  <c:v>121.68</c:v>
                </c:pt>
                <c:pt idx="321">
                  <c:v>121.05</c:v>
                </c:pt>
                <c:pt idx="322">
                  <c:v>121.45</c:v>
                </c:pt>
                <c:pt idx="323">
                  <c:v>121.72</c:v>
                </c:pt>
                <c:pt idx="324">
                  <c:v>121.53</c:v>
                </c:pt>
                <c:pt idx="325">
                  <c:v>121.67</c:v>
                </c:pt>
                <c:pt idx="326">
                  <c:v>120.90</c:v>
                </c:pt>
                <c:pt idx="327">
                  <c:v>120.55</c:v>
                </c:pt>
                <c:pt idx="328">
                  <c:v>118.95</c:v>
                </c:pt>
                <c:pt idx="329">
                  <c:v>118.99</c:v>
                </c:pt>
                <c:pt idx="330">
                  <c:v>117.37</c:v>
                </c:pt>
                <c:pt idx="331">
                  <c:v>115.94</c:v>
                </c:pt>
                <c:pt idx="332">
                  <c:v>116.02</c:v>
                </c:pt>
                <c:pt idx="333">
                  <c:v>117.10</c:v>
                </c:pt>
                <c:pt idx="334">
                  <c:v>119.45</c:v>
                </c:pt>
                <c:pt idx="335">
                  <c:v>120.21</c:v>
                </c:pt>
                <c:pt idx="336">
                  <c:v>120.65</c:v>
                </c:pt>
                <c:pt idx="337">
                  <c:v>120.66</c:v>
                </c:pt>
                <c:pt idx="338">
                  <c:v>120.84</c:v>
                </c:pt>
                <c:pt idx="339">
                  <c:v>121.26</c:v>
                </c:pt>
                <c:pt idx="340">
                  <c:v>120.53</c:v>
                </c:pt>
                <c:pt idx="341">
                  <c:v>119.76</c:v>
                </c:pt>
                <c:pt idx="342">
                  <c:v>119.41</c:v>
                </c:pt>
                <c:pt idx="343">
                  <c:v>117.16</c:v>
                </c:pt>
                <c:pt idx="344">
                  <c:v>115.96</c:v>
                </c:pt>
                <c:pt idx="345">
                  <c:v>116.48</c:v>
                </c:pt>
                <c:pt idx="346">
                  <c:v>118.72</c:v>
                </c:pt>
                <c:pt idx="347">
                  <c:v>118.03</c:v>
                </c:pt>
                <c:pt idx="348">
                  <c:v>117.58</c:v>
                </c:pt>
                <c:pt idx="349">
                  <c:v>117.72</c:v>
                </c:pt>
                <c:pt idx="350">
                  <c:v>116.83</c:v>
                </c:pt>
                <c:pt idx="351">
                  <c:v>116.67</c:v>
                </c:pt>
                <c:pt idx="352">
                  <c:v>117.48</c:v>
                </c:pt>
                <c:pt idx="353">
                  <c:v>117.99</c:v>
                </c:pt>
                <c:pt idx="354">
                  <c:v>118.26</c:v>
                </c:pt>
                <c:pt idx="355">
                  <c:v>118.90</c:v>
                </c:pt>
                <c:pt idx="356">
                  <c:v>119.98</c:v>
                </c:pt>
                <c:pt idx="357">
                  <c:v>119.82</c:v>
                </c:pt>
                <c:pt idx="358">
                  <c:v>120.13</c:v>
                </c:pt>
                <c:pt idx="359">
                  <c:v>119.71</c:v>
                </c:pt>
                <c:pt idx="360">
                  <c:v>118.64</c:v>
                </c:pt>
                <c:pt idx="361">
                  <c:v>118.96</c:v>
                </c:pt>
                <c:pt idx="362">
                  <c:v>117.81</c:v>
                </c:pt>
                <c:pt idx="363">
                  <c:v>118.94</c:v>
                </c:pt>
                <c:pt idx="364">
                  <c:v>120.33</c:v>
                </c:pt>
                <c:pt idx="365">
                  <c:v>120.41</c:v>
                </c:pt>
                <c:pt idx="366">
                  <c:v>121.25</c:v>
                </c:pt>
                <c:pt idx="367">
                  <c:v>120.75</c:v>
                </c:pt>
                <c:pt idx="368">
                  <c:v>120.30</c:v>
                </c:pt>
                <c:pt idx="369">
                  <c:v>121.10</c:v>
                </c:pt>
                <c:pt idx="370">
                  <c:v>120.81</c:v>
                </c:pt>
                <c:pt idx="371">
                  <c:v>122.26</c:v>
                </c:pt>
                <c:pt idx="372">
                  <c:v>123.02</c:v>
                </c:pt>
                <c:pt idx="373">
                  <c:v>123.09</c:v>
                </c:pt>
                <c:pt idx="374">
                  <c:v>123.23</c:v>
                </c:pt>
                <c:pt idx="375">
                  <c:v>123.60</c:v>
                </c:pt>
                <c:pt idx="376">
                  <c:v>123.79</c:v>
                </c:pt>
                <c:pt idx="377">
                  <c:v>124.33</c:v>
                </c:pt>
                <c:pt idx="378">
                  <c:v>124.52</c:v>
                </c:pt>
                <c:pt idx="379">
                  <c:v>124.85</c:v>
                </c:pt>
                <c:pt idx="380">
                  <c:v>124.98</c:v>
                </c:pt>
                <c:pt idx="381">
                  <c:v>124.78</c:v>
                </c:pt>
                <c:pt idx="382">
                  <c:v>124.69</c:v>
                </c:pt>
                <c:pt idx="383">
                  <c:v>124.93</c:v>
                </c:pt>
                <c:pt idx="384">
                  <c:v>124.40</c:v>
                </c:pt>
                <c:pt idx="385">
                  <c:v>123.87</c:v>
                </c:pt>
                <c:pt idx="386">
                  <c:v>124.11</c:v>
                </c:pt>
                <c:pt idx="387">
                  <c:v>122.64</c:v>
                </c:pt>
                <c:pt idx="388">
                  <c:v>122.60</c:v>
                </c:pt>
                <c:pt idx="389">
                  <c:v>120.59</c:v>
                </c:pt>
                <c:pt idx="390">
                  <c:v>120.49</c:v>
                </c:pt>
                <c:pt idx="391">
                  <c:v>121.78</c:v>
                </c:pt>
                <c:pt idx="392">
                  <c:v>121.21</c:v>
                </c:pt>
                <c:pt idx="393">
                  <c:v>122.60</c:v>
                </c:pt>
                <c:pt idx="394">
                  <c:v>122.36</c:v>
                </c:pt>
                <c:pt idx="395">
                  <c:v>123.58</c:v>
                </c:pt>
                <c:pt idx="396">
                  <c:v>123.42</c:v>
                </c:pt>
                <c:pt idx="397">
                  <c:v>125.08</c:v>
                </c:pt>
                <c:pt idx="398">
                  <c:v>125.34</c:v>
                </c:pt>
                <c:pt idx="399">
                  <c:v>124.97</c:v>
                </c:pt>
                <c:pt idx="400">
                  <c:v>123.90</c:v>
                </c:pt>
                <c:pt idx="401">
                  <c:v>123.04</c:v>
                </c:pt>
                <c:pt idx="402">
                  <c:v>123.15</c:v>
                </c:pt>
                <c:pt idx="403">
                  <c:v>124.01</c:v>
                </c:pt>
                <c:pt idx="404">
                  <c:v>122.85</c:v>
                </c:pt>
                <c:pt idx="405">
                  <c:v>122.64</c:v>
                </c:pt>
                <c:pt idx="406">
                  <c:v>123.49</c:v>
                </c:pt>
                <c:pt idx="407">
                  <c:v>124.54</c:v>
                </c:pt>
                <c:pt idx="408">
                  <c:v>124.79</c:v>
                </c:pt>
                <c:pt idx="409">
                  <c:v>125.17</c:v>
                </c:pt>
                <c:pt idx="410">
                  <c:v>125.71</c:v>
                </c:pt>
                <c:pt idx="411">
                  <c:v>125.19</c:v>
                </c:pt>
                <c:pt idx="412">
                  <c:v>125.76</c:v>
                </c:pt>
                <c:pt idx="413">
                  <c:v>125.99</c:v>
                </c:pt>
                <c:pt idx="414">
                  <c:v>126.21</c:v>
                </c:pt>
                <c:pt idx="415">
                  <c:v>124.99</c:v>
                </c:pt>
                <c:pt idx="416">
                  <c:v>125.73</c:v>
                </c:pt>
                <c:pt idx="417">
                  <c:v>126.01</c:v>
                </c:pt>
                <c:pt idx="418">
                  <c:v>126.34</c:v>
                </c:pt>
                <c:pt idx="419">
                  <c:v>126.74</c:v>
                </c:pt>
                <c:pt idx="420">
                  <c:v>127.32</c:v>
                </c:pt>
                <c:pt idx="421">
                  <c:v>127.49</c:v>
                </c:pt>
                <c:pt idx="422">
                  <c:v>127.63</c:v>
                </c:pt>
                <c:pt idx="423">
                  <c:v>127.07</c:v>
                </c:pt>
                <c:pt idx="424">
                  <c:v>125.85</c:v>
                </c:pt>
                <c:pt idx="425">
                  <c:v>126.45</c:v>
                </c:pt>
                <c:pt idx="426">
                  <c:v>126.70</c:v>
                </c:pt>
                <c:pt idx="427">
                  <c:v>125.50</c:v>
                </c:pt>
                <c:pt idx="428">
                  <c:v>125.55</c:v>
                </c:pt>
                <c:pt idx="429">
                  <c:v>125.35</c:v>
                </c:pt>
                <c:pt idx="430">
                  <c:v>127.20</c:v>
                </c:pt>
                <c:pt idx="431">
                  <c:v>126.88</c:v>
                </c:pt>
                <c:pt idx="432">
                  <c:v>126.61</c:v>
                </c:pt>
                <c:pt idx="433">
                  <c:v>127.07</c:v>
                </c:pt>
                <c:pt idx="434">
                  <c:v>128.02</c:v>
                </c:pt>
                <c:pt idx="435">
                  <c:v>128.34</c:v>
                </c:pt>
                <c:pt idx="436">
                  <c:v>128.48</c:v>
                </c:pt>
                <c:pt idx="437">
                  <c:v>128.14</c:v>
                </c:pt>
                <c:pt idx="438">
                  <c:v>128.14</c:v>
                </c:pt>
                <c:pt idx="439">
                  <c:v>128.62</c:v>
                </c:pt>
                <c:pt idx="440">
                  <c:v>128.11</c:v>
                </c:pt>
                <c:pt idx="441">
                  <c:v>128.15</c:v>
                </c:pt>
                <c:pt idx="442">
                  <c:v>126.55</c:v>
                </c:pt>
                <c:pt idx="443">
                  <c:v>127.43</c:v>
                </c:pt>
                <c:pt idx="444">
                  <c:v>127.31</c:v>
                </c:pt>
                <c:pt idx="445">
                  <c:v>126.46</c:v>
                </c:pt>
                <c:pt idx="446">
                  <c:v>126.41</c:v>
                </c:pt>
                <c:pt idx="447">
                  <c:v>126.72</c:v>
                </c:pt>
                <c:pt idx="448">
                  <c:v>127.26</c:v>
                </c:pt>
                <c:pt idx="449">
                  <c:v>126.26</c:v>
                </c:pt>
                <c:pt idx="450">
                  <c:v>125.12</c:v>
                </c:pt>
                <c:pt idx="451">
                  <c:v>124.56</c:v>
                </c:pt>
                <c:pt idx="452">
                  <c:v>124.50</c:v>
                </c:pt>
                <c:pt idx="453">
                  <c:v>126.30</c:v>
                </c:pt>
                <c:pt idx="454">
                  <c:v>126.55</c:v>
                </c:pt>
                <c:pt idx="455">
                  <c:v>125.92</c:v>
                </c:pt>
                <c:pt idx="456">
                  <c:v>124.96</c:v>
                </c:pt>
                <c:pt idx="457">
                  <c:v>125.40</c:v>
                </c:pt>
                <c:pt idx="458">
                  <c:v>125.27</c:v>
                </c:pt>
                <c:pt idx="459">
                  <c:v>126.60</c:v>
                </c:pt>
                <c:pt idx="460">
                  <c:v>126.23</c:v>
                </c:pt>
                <c:pt idx="461">
                  <c:v>127.77</c:v>
                </c:pt>
                <c:pt idx="462">
                  <c:v>127.79</c:v>
                </c:pt>
                <c:pt idx="463">
                  <c:v>127.08</c:v>
                </c:pt>
                <c:pt idx="464">
                  <c:v>126.82</c:v>
                </c:pt>
                <c:pt idx="465">
                  <c:v>126.47</c:v>
                </c:pt>
                <c:pt idx="466">
                  <c:v>123.74</c:v>
                </c:pt>
                <c:pt idx="467">
                  <c:v>123.62</c:v>
                </c:pt>
                <c:pt idx="468">
                  <c:v>124.47</c:v>
                </c:pt>
                <c:pt idx="469">
                  <c:v>124.47</c:v>
                </c:pt>
                <c:pt idx="470">
                  <c:v>124.26</c:v>
                </c:pt>
                <c:pt idx="471">
                  <c:v>123.17</c:v>
                </c:pt>
                <c:pt idx="472">
                  <c:v>122.83</c:v>
                </c:pt>
                <c:pt idx="473">
                  <c:v>121.58</c:v>
                </c:pt>
                <c:pt idx="474">
                  <c:v>122.36</c:v>
                </c:pt>
                <c:pt idx="475">
                  <c:v>124.19</c:v>
                </c:pt>
                <c:pt idx="476">
                  <c:v>125.29</c:v>
                </c:pt>
                <c:pt idx="477">
                  <c:v>126.03</c:v>
                </c:pt>
                <c:pt idx="478">
                  <c:v>125.98</c:v>
                </c:pt>
                <c:pt idx="479">
                  <c:v>126.97</c:v>
                </c:pt>
                <c:pt idx="480">
                  <c:v>126.82</c:v>
                </c:pt>
                <c:pt idx="481">
                  <c:v>126.93</c:v>
                </c:pt>
                <c:pt idx="482">
                  <c:v>126.66</c:v>
                </c:pt>
                <c:pt idx="483">
                  <c:v>125.85</c:v>
                </c:pt>
                <c:pt idx="484">
                  <c:v>125.64</c:v>
                </c:pt>
                <c:pt idx="485">
                  <c:v>124.46</c:v>
                </c:pt>
                <c:pt idx="486">
                  <c:v>123.58</c:v>
                </c:pt>
                <c:pt idx="487">
                  <c:v>124.50</c:v>
                </c:pt>
                <c:pt idx="488">
                  <c:v>125.45</c:v>
                </c:pt>
                <c:pt idx="489">
                  <c:v>125.85</c:v>
                </c:pt>
                <c:pt idx="490">
                  <c:v>125.56</c:v>
                </c:pt>
                <c:pt idx="491">
                  <c:v>125.43</c:v>
                </c:pt>
                <c:pt idx="492">
                  <c:v>125.70</c:v>
                </c:pt>
                <c:pt idx="493">
                  <c:v>125.06</c:v>
                </c:pt>
                <c:pt idx="494">
                  <c:v>124.68</c:v>
                </c:pt>
                <c:pt idx="495">
                  <c:v>126.04</c:v>
                </c:pt>
                <c:pt idx="496">
                  <c:v>124.84</c:v>
                </c:pt>
                <c:pt idx="497">
                  <c:v>124.31</c:v>
                </c:pt>
                <c:pt idx="498">
                  <c:v>124.34</c:v>
                </c:pt>
                <c:pt idx="499">
                  <c:v>124.52</c:v>
                </c:pt>
                <c:pt idx="500">
                  <c:v>124.91</c:v>
                </c:pt>
                <c:pt idx="501">
                  <c:v>124.61</c:v>
                </c:pt>
                <c:pt idx="502">
                  <c:v>123.31</c:v>
                </c:pt>
                <c:pt idx="503">
                  <c:v>121.29</c:v>
                </c:pt>
                <c:pt idx="504">
                  <c:v>118.02</c:v>
                </c:pt>
                <c:pt idx="505">
                  <c:v>113.69</c:v>
                </c:pt>
                <c:pt idx="506">
                  <c:v>113.31</c:v>
                </c:pt>
                <c:pt idx="507">
                  <c:v>115.59</c:v>
                </c:pt>
                <c:pt idx="508">
                  <c:v>117.97</c:v>
                </c:pt>
                <c:pt idx="509">
                  <c:v>118.55</c:v>
                </c:pt>
                <c:pt idx="510">
                  <c:v>117.67</c:v>
                </c:pt>
              </c:numCache>
            </c:numRef>
          </c:val>
        </c:ser>
        <c:ser>
          <c:idx val="2"/>
          <c:order val="2"/>
          <c:tx>
            <c:strRef>
              <c:f>Sheet1!$D$1</c:f>
              <c:strCache>
                <c:ptCount val="1"/>
              </c:strCache>
            </c:strRef>
          </c:tx>
          <c:spPr>
            <a:ln w="12700">
              <a:solidFill>
                <a:srgbClr val="665C8C"/>
              </a:solidFill>
            </a:ln>
          </c:spPr>
          <c:marker>
            <c:symbol val="none"/>
          </c:marker>
          <c:cat>
            <c:strRef>
              <c:f>Sheet1!$A$2:$A$352</c:f>
              <c:strCache>
                <c:ptCount val="351"/>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un-13 </c:v>
                </c:pt>
                <c:pt idx="289">
                  <c:v>Jun-13 </c:v>
                </c:pt>
                <c:pt idx="290">
                  <c:v>Jun-13 </c:v>
                </c:pt>
                <c:pt idx="291">
                  <c:v>Jul-13</c:v>
                </c:pt>
                <c:pt idx="292">
                  <c:v>Jul-13</c:v>
                </c:pt>
                <c:pt idx="293">
                  <c:v>Jul-13</c:v>
                </c:pt>
                <c:pt idx="294">
                  <c:v>Jul-13</c:v>
                </c:pt>
                <c:pt idx="295">
                  <c:v>Jul-13</c:v>
                </c:pt>
                <c:pt idx="296">
                  <c:v>Jul-13</c:v>
                </c:pt>
                <c:pt idx="297">
                  <c:v>Jul-13</c:v>
                </c:pt>
                <c:pt idx="298">
                  <c:v>Jul-13</c:v>
                </c:pt>
                <c:pt idx="299">
                  <c:v>Jul-13</c:v>
                </c:pt>
                <c:pt idx="300">
                  <c:v>Jul-13</c:v>
                </c:pt>
                <c:pt idx="301">
                  <c:v>Jul-13</c:v>
                </c:pt>
                <c:pt idx="302">
                  <c:v>Jul-13</c:v>
                </c:pt>
                <c:pt idx="303">
                  <c:v>Jul-13</c:v>
                </c:pt>
                <c:pt idx="304">
                  <c:v>Jul-13</c:v>
                </c:pt>
                <c:pt idx="305">
                  <c:v>Jul-13</c:v>
                </c:pt>
                <c:pt idx="306">
                  <c:v>Jul-13</c:v>
                </c:pt>
                <c:pt idx="307">
                  <c:v>Jul-13</c:v>
                </c:pt>
                <c:pt idx="308">
                  <c:v>Jul-13</c:v>
                </c:pt>
                <c:pt idx="309">
                  <c:v>Jul-13</c:v>
                </c:pt>
                <c:pt idx="310">
                  <c:v>Jul-13</c:v>
                </c:pt>
                <c:pt idx="311">
                  <c:v>Jul-13</c:v>
                </c:pt>
                <c:pt idx="312">
                  <c:v>Jul-13</c:v>
                </c:pt>
                <c:pt idx="313">
                  <c:v>Jul-13</c:v>
                </c:pt>
                <c:pt idx="314">
                  <c:v>Aug-13 </c:v>
                </c:pt>
                <c:pt idx="315">
                  <c:v>Aug-13 </c:v>
                </c:pt>
                <c:pt idx="316">
                  <c:v>Aug-13 </c:v>
                </c:pt>
                <c:pt idx="317">
                  <c:v>Aug-13 </c:v>
                </c:pt>
                <c:pt idx="318">
                  <c:v>Aug-13 </c:v>
                </c:pt>
                <c:pt idx="319">
                  <c:v>Aug-13 </c:v>
                </c:pt>
                <c:pt idx="320">
                  <c:v>Aug-13 </c:v>
                </c:pt>
                <c:pt idx="321">
                  <c:v>Aug-13 </c:v>
                </c:pt>
                <c:pt idx="322">
                  <c:v>Aug-13 </c:v>
                </c:pt>
                <c:pt idx="323">
                  <c:v>Aug-13 </c:v>
                </c:pt>
                <c:pt idx="324">
                  <c:v>Aug-13 </c:v>
                </c:pt>
                <c:pt idx="325">
                  <c:v>Aug-13 </c:v>
                </c:pt>
                <c:pt idx="326">
                  <c:v>Aug-13 </c:v>
                </c:pt>
                <c:pt idx="327">
                  <c:v>Aug-13 </c:v>
                </c:pt>
                <c:pt idx="328">
                  <c:v>Aug-13 </c:v>
                </c:pt>
                <c:pt idx="329">
                  <c:v>Aug-13 </c:v>
                </c:pt>
                <c:pt idx="330">
                  <c:v>Aug-13 </c:v>
                </c:pt>
                <c:pt idx="331">
                  <c:v>Aug-13 </c:v>
                </c:pt>
                <c:pt idx="332">
                  <c:v>Aug-13 </c:v>
                </c:pt>
                <c:pt idx="333">
                  <c:v>Aug-13 </c:v>
                </c:pt>
                <c:pt idx="334">
                  <c:v>Aug-13 </c:v>
                </c:pt>
                <c:pt idx="335">
                  <c:v>Aug-13 </c:v>
                </c:pt>
                <c:pt idx="336">
                  <c:v>Sep-13</c:v>
                </c:pt>
                <c:pt idx="337">
                  <c:v>Sep-13</c:v>
                </c:pt>
                <c:pt idx="338">
                  <c:v>Sep-13</c:v>
                </c:pt>
                <c:pt idx="339">
                  <c:v>Sep-13</c:v>
                </c:pt>
                <c:pt idx="340">
                  <c:v>Sep-13</c:v>
                </c:pt>
                <c:pt idx="341">
                  <c:v>Sep-13</c:v>
                </c:pt>
                <c:pt idx="342">
                  <c:v>Sep-13</c:v>
                </c:pt>
                <c:pt idx="343">
                  <c:v>Sep-13</c:v>
                </c:pt>
                <c:pt idx="344">
                  <c:v>Sep-13</c:v>
                </c:pt>
                <c:pt idx="345">
                  <c:v>Sep-13</c:v>
                </c:pt>
                <c:pt idx="346">
                  <c:v>Sep-13</c:v>
                </c:pt>
                <c:pt idx="347">
                  <c:v>Sep-13</c:v>
                </c:pt>
                <c:pt idx="348">
                  <c:v>Sep-13</c:v>
                </c:pt>
                <c:pt idx="349">
                  <c:v>Sep-13</c:v>
                </c:pt>
                <c:pt idx="350">
                  <c:v>Sep-13</c:v>
                </c:pt>
              </c:strCache>
            </c:strRef>
          </c:cat>
          <c:val>
            <c:numRef>
              <c:f>Sheet1!$D$2:$D$352</c:f>
              <c:numCache>
                <c:formatCode>General</c:formatCode>
                <c:ptCount val="351"/>
              </c:numCache>
            </c:numRef>
          </c:val>
        </c:ser>
        <c:marker val="1"/>
        <c:axId val="127838848"/>
        <c:axId val="127357312"/>
      </c:lineChart>
      <c:catAx>
        <c:axId val="127838848"/>
        <c:scaling>
          <c:orientation val="minMax"/>
        </c:scaling>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127357312"/>
        <c:crosses val="autoZero"/>
        <c:lblAlgn val="ctr"/>
        <c:lblOffset val="100"/>
        <c:tickLblSkip val="300"/>
        <c:tickMarkSkip val="500"/>
        <c:noMultiLvlLbl val="1"/>
      </c:catAx>
      <c:valAx>
        <c:axId val="127357312"/>
        <c:scaling>
          <c:orientation val="minMax"/>
        </c:scaling>
        <c:axPos val="l"/>
        <c:majorGridlines>
          <c:spPr>
            <a:ln w="12700" cmpd="sng">
              <a:solidFill>
                <a:schemeClr val="tx2"/>
              </a:solidFill>
              <a:prstDash val="solid"/>
            </a:ln>
          </c:spPr>
        </c:majorGridlines>
        <c:numFmt formatCode="0" sourceLinked="0"/>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127838848"/>
        <c:crosses val="autoZero"/>
        <c:crossBetween val="between"/>
      </c:valAx>
      <c:spPr>
        <a:noFill/>
        <a:ln w="25313">
          <a:noFill/>
        </a:ln>
      </c:spPr>
    </c:plotArea>
    <c:plotVisOnly val="1"/>
    <c:dispBlanksAs val="gap"/>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6.180359530530382E-2"/>
          <c:y val="5.8188038995125722E-2"/>
          <c:w val="0.93086392240802185"/>
          <c:h val="0.85010748656418289"/>
        </c:manualLayout>
      </c:layout>
      <c:lineChart>
        <c:grouping val="standard"/>
        <c:ser>
          <c:idx val="0"/>
          <c:order val="0"/>
          <c:tx>
            <c:strRef>
              <c:f>Sheet1!$B$1</c:f>
              <c:strCache>
                <c:ptCount val="1"/>
                <c:pt idx="0">
                  <c:v>Reference</c:v>
                </c:pt>
              </c:strCache>
            </c:strRef>
          </c:tx>
          <c:spPr>
            <a:ln w="19050">
              <a:solidFill>
                <a:schemeClr val="accent1"/>
              </a:solidFill>
              <a:prstDash val="solid"/>
            </a:ln>
          </c:spPr>
          <c:marker>
            <c:symbol val="none"/>
          </c:marker>
          <c:cat>
            <c:strRef>
              <c:f>Sheet1!$A$2:$A$1247</c:f>
              <c:strCache>
                <c:ptCount val="1246"/>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an-10 </c:v>
                </c:pt>
                <c:pt idx="289">
                  <c:v>Jan-10 </c:v>
                </c:pt>
                <c:pt idx="290">
                  <c:v>Jan-10 </c:v>
                </c:pt>
                <c:pt idx="291">
                  <c:v>Jan-10 </c:v>
                </c:pt>
                <c:pt idx="292">
                  <c:v>Jan-10 </c:v>
                </c:pt>
                <c:pt idx="293">
                  <c:v>Jan-10 </c:v>
                </c:pt>
                <c:pt idx="294">
                  <c:v>Jan-10 </c:v>
                </c:pt>
                <c:pt idx="295">
                  <c:v>Jan-10 </c:v>
                </c:pt>
                <c:pt idx="296">
                  <c:v>Jan-10 </c:v>
                </c:pt>
                <c:pt idx="297">
                  <c:v>Jan-10 </c:v>
                </c:pt>
                <c:pt idx="298">
                  <c:v>Jan-10 </c:v>
                </c:pt>
                <c:pt idx="299">
                  <c:v>Jan-10 </c:v>
                </c:pt>
                <c:pt idx="300">
                  <c:v>Jan-10 </c:v>
                </c:pt>
                <c:pt idx="301">
                  <c:v>Jan-10 </c:v>
                </c:pt>
                <c:pt idx="302">
                  <c:v>Jan-10 </c:v>
                </c:pt>
                <c:pt idx="303">
                  <c:v>Jan-10 </c:v>
                </c:pt>
                <c:pt idx="304">
                  <c:v>Jan-10 </c:v>
                </c:pt>
                <c:pt idx="305">
                  <c:v>Jan-10 </c:v>
                </c:pt>
                <c:pt idx="306">
                  <c:v>Jan-10 </c:v>
                </c:pt>
                <c:pt idx="307">
                  <c:v>Jan-10 </c:v>
                </c:pt>
                <c:pt idx="308">
                  <c:v>Feb-10 </c:v>
                </c:pt>
                <c:pt idx="309">
                  <c:v>Feb-10 </c:v>
                </c:pt>
                <c:pt idx="310">
                  <c:v>Feb-10 </c:v>
                </c:pt>
                <c:pt idx="311">
                  <c:v>Feb-10 </c:v>
                </c:pt>
                <c:pt idx="312">
                  <c:v>Feb-10 </c:v>
                </c:pt>
                <c:pt idx="313">
                  <c:v>Feb-10 </c:v>
                </c:pt>
                <c:pt idx="314">
                  <c:v>Feb-10 </c:v>
                </c:pt>
                <c:pt idx="315">
                  <c:v>Feb-10 </c:v>
                </c:pt>
                <c:pt idx="316">
                  <c:v>Feb-10 </c:v>
                </c:pt>
                <c:pt idx="317">
                  <c:v>Feb-10 </c:v>
                </c:pt>
                <c:pt idx="318">
                  <c:v>Feb-10 </c:v>
                </c:pt>
                <c:pt idx="319">
                  <c:v>Feb-10 </c:v>
                </c:pt>
                <c:pt idx="320">
                  <c:v>Feb-10 </c:v>
                </c:pt>
                <c:pt idx="321">
                  <c:v>Feb-10 </c:v>
                </c:pt>
                <c:pt idx="322">
                  <c:v>Feb-10 </c:v>
                </c:pt>
                <c:pt idx="323">
                  <c:v>Feb-10 </c:v>
                </c:pt>
                <c:pt idx="324">
                  <c:v>Feb-10 </c:v>
                </c:pt>
                <c:pt idx="325">
                  <c:v>Feb-10 </c:v>
                </c:pt>
                <c:pt idx="326">
                  <c:v>Feb-10 </c:v>
                </c:pt>
                <c:pt idx="327">
                  <c:v>Feb-10 </c:v>
                </c:pt>
                <c:pt idx="328">
                  <c:v>Mar-10 </c:v>
                </c:pt>
                <c:pt idx="329">
                  <c:v>Mar-10 </c:v>
                </c:pt>
                <c:pt idx="330">
                  <c:v>Mar-10 </c:v>
                </c:pt>
                <c:pt idx="331">
                  <c:v>Mar-10 </c:v>
                </c:pt>
                <c:pt idx="332">
                  <c:v>Mar-10 </c:v>
                </c:pt>
                <c:pt idx="333">
                  <c:v>Mar-10 </c:v>
                </c:pt>
                <c:pt idx="334">
                  <c:v>Mar-10 </c:v>
                </c:pt>
                <c:pt idx="335">
                  <c:v>Mar-10 </c:v>
                </c:pt>
                <c:pt idx="336">
                  <c:v>Mar-10 </c:v>
                </c:pt>
                <c:pt idx="337">
                  <c:v>Mar-10 </c:v>
                </c:pt>
                <c:pt idx="338">
                  <c:v>Mar-10 </c:v>
                </c:pt>
                <c:pt idx="339">
                  <c:v>Mar-10 </c:v>
                </c:pt>
                <c:pt idx="340">
                  <c:v>Mar-10 </c:v>
                </c:pt>
                <c:pt idx="341">
                  <c:v>Mar-10 </c:v>
                </c:pt>
                <c:pt idx="342">
                  <c:v>Mar-10 </c:v>
                </c:pt>
                <c:pt idx="343">
                  <c:v>Mar-10 </c:v>
                </c:pt>
                <c:pt idx="344">
                  <c:v>Mar-10 </c:v>
                </c:pt>
                <c:pt idx="345">
                  <c:v>Mar-10 </c:v>
                </c:pt>
                <c:pt idx="346">
                  <c:v>Mar-10 </c:v>
                </c:pt>
                <c:pt idx="347">
                  <c:v>Mar-10 </c:v>
                </c:pt>
                <c:pt idx="348">
                  <c:v>Mar-10 </c:v>
                </c:pt>
                <c:pt idx="349">
                  <c:v>Mar-10 </c:v>
                </c:pt>
                <c:pt idx="350">
                  <c:v>Mar-10 </c:v>
                </c:pt>
                <c:pt idx="351">
                  <c:v>Apr-10</c:v>
                </c:pt>
                <c:pt idx="352">
                  <c:v>Apr-10</c:v>
                </c:pt>
                <c:pt idx="353">
                  <c:v>Apr-10</c:v>
                </c:pt>
                <c:pt idx="354">
                  <c:v>Apr-10</c:v>
                </c:pt>
                <c:pt idx="355">
                  <c:v>Apr-10</c:v>
                </c:pt>
                <c:pt idx="356">
                  <c:v>Apr-10</c:v>
                </c:pt>
                <c:pt idx="357">
                  <c:v>Apr-10</c:v>
                </c:pt>
                <c:pt idx="358">
                  <c:v>Apr-10</c:v>
                </c:pt>
                <c:pt idx="359">
                  <c:v>Apr-10</c:v>
                </c:pt>
                <c:pt idx="360">
                  <c:v>Apr-10</c:v>
                </c:pt>
                <c:pt idx="361">
                  <c:v>Apr-10</c:v>
                </c:pt>
                <c:pt idx="362">
                  <c:v>Apr-10</c:v>
                </c:pt>
                <c:pt idx="363">
                  <c:v>Apr-10</c:v>
                </c:pt>
                <c:pt idx="364">
                  <c:v>Apr-10</c:v>
                </c:pt>
                <c:pt idx="365">
                  <c:v>Apr-10</c:v>
                </c:pt>
                <c:pt idx="366">
                  <c:v>Apr-10</c:v>
                </c:pt>
                <c:pt idx="367">
                  <c:v>Apr-10</c:v>
                </c:pt>
                <c:pt idx="368">
                  <c:v>Apr-10</c:v>
                </c:pt>
                <c:pt idx="369">
                  <c:v>Apr-10</c:v>
                </c:pt>
                <c:pt idx="370">
                  <c:v>Apr-10</c:v>
                </c:pt>
                <c:pt idx="371">
                  <c:v>May-10 </c:v>
                </c:pt>
                <c:pt idx="372">
                  <c:v>May-10 </c:v>
                </c:pt>
                <c:pt idx="373">
                  <c:v>May-10 </c:v>
                </c:pt>
                <c:pt idx="374">
                  <c:v>May-10 </c:v>
                </c:pt>
                <c:pt idx="375">
                  <c:v>May-10 </c:v>
                </c:pt>
                <c:pt idx="376">
                  <c:v>May-10 </c:v>
                </c:pt>
                <c:pt idx="377">
                  <c:v>May-10 </c:v>
                </c:pt>
                <c:pt idx="378">
                  <c:v>May-10 </c:v>
                </c:pt>
                <c:pt idx="379">
                  <c:v>May-10 </c:v>
                </c:pt>
                <c:pt idx="380">
                  <c:v>May-10 </c:v>
                </c:pt>
                <c:pt idx="381">
                  <c:v>May-10 </c:v>
                </c:pt>
                <c:pt idx="382">
                  <c:v>May-10 </c:v>
                </c:pt>
                <c:pt idx="383">
                  <c:v>May-10 </c:v>
                </c:pt>
                <c:pt idx="384">
                  <c:v>May-10 </c:v>
                </c:pt>
                <c:pt idx="385">
                  <c:v>May-10 </c:v>
                </c:pt>
                <c:pt idx="386">
                  <c:v>May-10 </c:v>
                </c:pt>
                <c:pt idx="387">
                  <c:v>May-10 </c:v>
                </c:pt>
                <c:pt idx="388">
                  <c:v>May-10 </c:v>
                </c:pt>
                <c:pt idx="389">
                  <c:v>May-10 </c:v>
                </c:pt>
                <c:pt idx="390">
                  <c:v>May-10 </c:v>
                </c:pt>
                <c:pt idx="391">
                  <c:v>May-10 </c:v>
                </c:pt>
                <c:pt idx="392">
                  <c:v>Jun-10 </c:v>
                </c:pt>
                <c:pt idx="393">
                  <c:v>Jun-10 </c:v>
                </c:pt>
                <c:pt idx="394">
                  <c:v>Jun-10 </c:v>
                </c:pt>
                <c:pt idx="395">
                  <c:v>Jun-10 </c:v>
                </c:pt>
                <c:pt idx="396">
                  <c:v>Jun-10 </c:v>
                </c:pt>
                <c:pt idx="397">
                  <c:v>Jun-10 </c:v>
                </c:pt>
                <c:pt idx="398">
                  <c:v>Jun-10 </c:v>
                </c:pt>
                <c:pt idx="399">
                  <c:v>Jun-10 </c:v>
                </c:pt>
                <c:pt idx="400">
                  <c:v>Jun-10 </c:v>
                </c:pt>
                <c:pt idx="401">
                  <c:v>Jun-10 </c:v>
                </c:pt>
                <c:pt idx="402">
                  <c:v>Jun-10 </c:v>
                </c:pt>
                <c:pt idx="403">
                  <c:v>Jun-10 </c:v>
                </c:pt>
                <c:pt idx="404">
                  <c:v>Jun-10 </c:v>
                </c:pt>
                <c:pt idx="405">
                  <c:v>Jun-10 </c:v>
                </c:pt>
                <c:pt idx="406">
                  <c:v>Jun-10 </c:v>
                </c:pt>
                <c:pt idx="407">
                  <c:v>Jun-10 </c:v>
                </c:pt>
                <c:pt idx="408">
                  <c:v>Jun-10 </c:v>
                </c:pt>
                <c:pt idx="409">
                  <c:v>Jun-10 </c:v>
                </c:pt>
                <c:pt idx="410">
                  <c:v>Jun-10 </c:v>
                </c:pt>
                <c:pt idx="411">
                  <c:v>Jun-10 </c:v>
                </c:pt>
                <c:pt idx="412">
                  <c:v>Jun-10 </c:v>
                </c:pt>
                <c:pt idx="413">
                  <c:v>Jun-10 </c:v>
                </c:pt>
                <c:pt idx="414">
                  <c:v>Jul-10 A4432</c:v>
                </c:pt>
                <c:pt idx="415">
                  <c:v>Jul-10 2</c:v>
                </c:pt>
                <c:pt idx="416">
                  <c:v>Jul-10 2</c:v>
                </c:pt>
                <c:pt idx="417">
                  <c:v>Jul-10 2</c:v>
                </c:pt>
                <c:pt idx="418">
                  <c:v>Jul-10 2</c:v>
                </c:pt>
                <c:pt idx="419">
                  <c:v>Jul-10 2</c:v>
                </c:pt>
                <c:pt idx="420">
                  <c:v>Jul-10 2</c:v>
                </c:pt>
                <c:pt idx="421">
                  <c:v>Jul-10 2</c:v>
                </c:pt>
                <c:pt idx="422">
                  <c:v>Jul-10 2</c:v>
                </c:pt>
                <c:pt idx="423">
                  <c:v>Jul-10 2</c:v>
                </c:pt>
                <c:pt idx="424">
                  <c:v>Jul-10 2</c:v>
                </c:pt>
                <c:pt idx="425">
                  <c:v>Jul-10 2</c:v>
                </c:pt>
                <c:pt idx="426">
                  <c:v>Jul-10 2</c:v>
                </c:pt>
                <c:pt idx="427">
                  <c:v>Jul-10 2</c:v>
                </c:pt>
                <c:pt idx="428">
                  <c:v>Jul-10 2</c:v>
                </c:pt>
                <c:pt idx="429">
                  <c:v>Jul-10 2</c:v>
                </c:pt>
                <c:pt idx="430">
                  <c:v>Jul-10 2</c:v>
                </c:pt>
                <c:pt idx="431">
                  <c:v>Jul-10 2</c:v>
                </c:pt>
                <c:pt idx="432">
                  <c:v>Jul-10 2</c:v>
                </c:pt>
                <c:pt idx="433">
                  <c:v>Jul-10 2</c:v>
                </c:pt>
                <c:pt idx="434">
                  <c:v>Jul-10 2</c:v>
                </c:pt>
                <c:pt idx="435">
                  <c:v>Jul-10 2</c:v>
                </c:pt>
                <c:pt idx="436">
                  <c:v>Aug-10 </c:v>
                </c:pt>
                <c:pt idx="437">
                  <c:v>Aug-10 </c:v>
                </c:pt>
                <c:pt idx="438">
                  <c:v>Aug-10 </c:v>
                </c:pt>
                <c:pt idx="439">
                  <c:v>Aug-10 </c:v>
                </c:pt>
                <c:pt idx="440">
                  <c:v>Aug-10 </c:v>
                </c:pt>
                <c:pt idx="441">
                  <c:v>Aug-10 </c:v>
                </c:pt>
                <c:pt idx="442">
                  <c:v>Aug-10 </c:v>
                </c:pt>
                <c:pt idx="443">
                  <c:v>Aug-10 </c:v>
                </c:pt>
                <c:pt idx="444">
                  <c:v>Aug-10 </c:v>
                </c:pt>
                <c:pt idx="445">
                  <c:v>Aug-10 </c:v>
                </c:pt>
                <c:pt idx="446">
                  <c:v>Aug-10 </c:v>
                </c:pt>
                <c:pt idx="447">
                  <c:v>Aug-10 </c:v>
                </c:pt>
                <c:pt idx="448">
                  <c:v>Aug-10 </c:v>
                </c:pt>
                <c:pt idx="449">
                  <c:v>Aug-10 </c:v>
                </c:pt>
                <c:pt idx="450">
                  <c:v>Aug-10 </c:v>
                </c:pt>
                <c:pt idx="451">
                  <c:v>Aug-10 </c:v>
                </c:pt>
                <c:pt idx="452">
                  <c:v>Aug-10 </c:v>
                </c:pt>
                <c:pt idx="453">
                  <c:v>Aug-10 </c:v>
                </c:pt>
                <c:pt idx="454">
                  <c:v>Aug-10 </c:v>
                </c:pt>
                <c:pt idx="455">
                  <c:v>Aug-10 </c:v>
                </c:pt>
                <c:pt idx="456">
                  <c:v>Aug-10 </c:v>
                </c:pt>
                <c:pt idx="457">
                  <c:v>Aug-10 </c:v>
                </c:pt>
                <c:pt idx="458">
                  <c:v>Sep-10</c:v>
                </c:pt>
                <c:pt idx="459">
                  <c:v>Sep-10</c:v>
                </c:pt>
                <c:pt idx="460">
                  <c:v>Sep-10</c:v>
                </c:pt>
                <c:pt idx="461">
                  <c:v>Sep-10</c:v>
                </c:pt>
                <c:pt idx="462">
                  <c:v>Sep-10</c:v>
                </c:pt>
                <c:pt idx="463">
                  <c:v>Sep-10</c:v>
                </c:pt>
                <c:pt idx="464">
                  <c:v>Sep-10</c:v>
                </c:pt>
                <c:pt idx="465">
                  <c:v>Sep-10</c:v>
                </c:pt>
                <c:pt idx="466">
                  <c:v>Sep-10</c:v>
                </c:pt>
                <c:pt idx="467">
                  <c:v>Sep-10</c:v>
                </c:pt>
                <c:pt idx="468">
                  <c:v>Sep-10</c:v>
                </c:pt>
                <c:pt idx="469">
                  <c:v>Sep-10</c:v>
                </c:pt>
                <c:pt idx="470">
                  <c:v>Sep-10</c:v>
                </c:pt>
                <c:pt idx="471">
                  <c:v>Sep-10</c:v>
                </c:pt>
                <c:pt idx="472">
                  <c:v>Sep-10</c:v>
                </c:pt>
                <c:pt idx="473">
                  <c:v>Sep-10</c:v>
                </c:pt>
                <c:pt idx="474">
                  <c:v>Sep-10</c:v>
                </c:pt>
                <c:pt idx="475">
                  <c:v>Sep-10</c:v>
                </c:pt>
                <c:pt idx="476">
                  <c:v>Sep-10</c:v>
                </c:pt>
                <c:pt idx="477">
                  <c:v>Sep-10</c:v>
                </c:pt>
                <c:pt idx="478">
                  <c:v>Sep-10</c:v>
                </c:pt>
                <c:pt idx="479">
                  <c:v>Sep-10</c:v>
                </c:pt>
                <c:pt idx="480">
                  <c:v>Oct-10</c:v>
                </c:pt>
                <c:pt idx="481">
                  <c:v>Oct-10</c:v>
                </c:pt>
                <c:pt idx="482">
                  <c:v>Oct-10</c:v>
                </c:pt>
                <c:pt idx="483">
                  <c:v>Oct-10</c:v>
                </c:pt>
                <c:pt idx="484">
                  <c:v>Oct-10</c:v>
                </c:pt>
                <c:pt idx="485">
                  <c:v>Oct-10</c:v>
                </c:pt>
                <c:pt idx="486">
                  <c:v>Oct-10</c:v>
                </c:pt>
                <c:pt idx="487">
                  <c:v>Oct-10</c:v>
                </c:pt>
                <c:pt idx="488">
                  <c:v>Oct-10</c:v>
                </c:pt>
                <c:pt idx="489">
                  <c:v>Oct-10</c:v>
                </c:pt>
                <c:pt idx="490">
                  <c:v>Oct-10</c:v>
                </c:pt>
                <c:pt idx="491">
                  <c:v>Oct-10</c:v>
                </c:pt>
                <c:pt idx="492">
                  <c:v>Oct-10</c:v>
                </c:pt>
                <c:pt idx="493">
                  <c:v>Oct-10</c:v>
                </c:pt>
                <c:pt idx="494">
                  <c:v>Oct-10</c:v>
                </c:pt>
                <c:pt idx="495">
                  <c:v>Oct-10</c:v>
                </c:pt>
                <c:pt idx="496">
                  <c:v>Oct-10</c:v>
                </c:pt>
                <c:pt idx="497">
                  <c:v>Oct-10</c:v>
                </c:pt>
                <c:pt idx="498">
                  <c:v>Oct-10</c:v>
                </c:pt>
                <c:pt idx="499">
                  <c:v>Oct-10</c:v>
                </c:pt>
                <c:pt idx="500">
                  <c:v>Oct-10</c:v>
                </c:pt>
                <c:pt idx="501">
                  <c:v>Nov-10 </c:v>
                </c:pt>
                <c:pt idx="502">
                  <c:v>Nov-10 </c:v>
                </c:pt>
                <c:pt idx="503">
                  <c:v>Nov-10 </c:v>
                </c:pt>
                <c:pt idx="504">
                  <c:v>Nov-10 </c:v>
                </c:pt>
                <c:pt idx="505">
                  <c:v>Nov-10 </c:v>
                </c:pt>
                <c:pt idx="506">
                  <c:v>Nov-10 </c:v>
                </c:pt>
                <c:pt idx="507">
                  <c:v>Nov-10 </c:v>
                </c:pt>
                <c:pt idx="508">
                  <c:v>Nov-10 </c:v>
                </c:pt>
                <c:pt idx="509">
                  <c:v>Nov-10 </c:v>
                </c:pt>
                <c:pt idx="510">
                  <c:v>Nov-10 </c:v>
                </c:pt>
                <c:pt idx="511">
                  <c:v>Nov-10 </c:v>
                </c:pt>
                <c:pt idx="512">
                  <c:v>Nov-10 </c:v>
                </c:pt>
                <c:pt idx="513">
                  <c:v>Nov-10 </c:v>
                </c:pt>
                <c:pt idx="514">
                  <c:v>Nov-10 </c:v>
                </c:pt>
                <c:pt idx="515">
                  <c:v>Nov-10 </c:v>
                </c:pt>
                <c:pt idx="516">
                  <c:v>Nov-10 </c:v>
                </c:pt>
                <c:pt idx="517">
                  <c:v>Nov-10 </c:v>
                </c:pt>
                <c:pt idx="518">
                  <c:v>Nov-10 </c:v>
                </c:pt>
                <c:pt idx="519">
                  <c:v>Nov-10 </c:v>
                </c:pt>
                <c:pt idx="520">
                  <c:v>Nov-10 </c:v>
                </c:pt>
                <c:pt idx="521">
                  <c:v>Nov-10 </c:v>
                </c:pt>
                <c:pt idx="522">
                  <c:v>Nov-10 </c:v>
                </c:pt>
                <c:pt idx="523">
                  <c:v>Dec-10</c:v>
                </c:pt>
                <c:pt idx="524">
                  <c:v>Dec-10</c:v>
                </c:pt>
                <c:pt idx="525">
                  <c:v>Dec-10</c:v>
                </c:pt>
                <c:pt idx="526">
                  <c:v>Dec-10</c:v>
                </c:pt>
                <c:pt idx="527">
                  <c:v>Dec-10</c:v>
                </c:pt>
                <c:pt idx="528">
                  <c:v>Dec-10</c:v>
                </c:pt>
                <c:pt idx="529">
                  <c:v>Dec-10</c:v>
                </c:pt>
                <c:pt idx="530">
                  <c:v>Dec-10</c:v>
                </c:pt>
                <c:pt idx="531">
                  <c:v>Dec-10</c:v>
                </c:pt>
                <c:pt idx="532">
                  <c:v>Dec-10</c:v>
                </c:pt>
                <c:pt idx="533">
                  <c:v>Dec-10</c:v>
                </c:pt>
                <c:pt idx="534">
                  <c:v>Dec-10</c:v>
                </c:pt>
                <c:pt idx="535">
                  <c:v>Dec-10</c:v>
                </c:pt>
                <c:pt idx="536">
                  <c:v>Dec-10</c:v>
                </c:pt>
                <c:pt idx="537">
                  <c:v>Dec-10</c:v>
                </c:pt>
                <c:pt idx="538">
                  <c:v>Dec-10</c:v>
                </c:pt>
                <c:pt idx="539">
                  <c:v>Dec-10</c:v>
                </c:pt>
                <c:pt idx="540">
                  <c:v>Dec-10</c:v>
                </c:pt>
                <c:pt idx="541">
                  <c:v>Dec-10</c:v>
                </c:pt>
                <c:pt idx="542">
                  <c:v>Dec-10</c:v>
                </c:pt>
                <c:pt idx="543">
                  <c:v>Dec-10</c:v>
                </c:pt>
                <c:pt idx="544">
                  <c:v>Dec-10</c:v>
                </c:pt>
                <c:pt idx="545">
                  <c:v>Dec-10</c:v>
                </c:pt>
                <c:pt idx="546">
                  <c:v>Jan-11 </c:v>
                </c:pt>
                <c:pt idx="547">
                  <c:v>Jan-11 </c:v>
                </c:pt>
                <c:pt idx="548">
                  <c:v>Jan-11 </c:v>
                </c:pt>
                <c:pt idx="549">
                  <c:v>Jan-11 </c:v>
                </c:pt>
                <c:pt idx="550">
                  <c:v>Jan-11 </c:v>
                </c:pt>
                <c:pt idx="551">
                  <c:v>Jan-11 </c:v>
                </c:pt>
                <c:pt idx="552">
                  <c:v>Jan-11 </c:v>
                </c:pt>
                <c:pt idx="553">
                  <c:v>Jan-11 </c:v>
                </c:pt>
                <c:pt idx="554">
                  <c:v>Jan-11 </c:v>
                </c:pt>
                <c:pt idx="555">
                  <c:v>Jan-11 </c:v>
                </c:pt>
                <c:pt idx="556">
                  <c:v>Jan-11 </c:v>
                </c:pt>
                <c:pt idx="557">
                  <c:v>Jan-11 </c:v>
                </c:pt>
                <c:pt idx="558">
                  <c:v>Jan-11 </c:v>
                </c:pt>
                <c:pt idx="559">
                  <c:v>Jan-11 </c:v>
                </c:pt>
                <c:pt idx="560">
                  <c:v>Jan-11 </c:v>
                </c:pt>
                <c:pt idx="561">
                  <c:v>Jan-11 </c:v>
                </c:pt>
                <c:pt idx="562">
                  <c:v>Jan-11 </c:v>
                </c:pt>
                <c:pt idx="563">
                  <c:v>Jan-11 </c:v>
                </c:pt>
                <c:pt idx="564">
                  <c:v>Jan-11 </c:v>
                </c:pt>
                <c:pt idx="565">
                  <c:v>Jan-11 </c:v>
                </c:pt>
                <c:pt idx="566">
                  <c:v>Jan-11 </c:v>
                </c:pt>
                <c:pt idx="567">
                  <c:v>Feb-11 </c:v>
                </c:pt>
                <c:pt idx="568">
                  <c:v>Feb-11 </c:v>
                </c:pt>
                <c:pt idx="569">
                  <c:v>Feb-11 </c:v>
                </c:pt>
                <c:pt idx="570">
                  <c:v>Feb-11 </c:v>
                </c:pt>
                <c:pt idx="571">
                  <c:v>Feb-11 </c:v>
                </c:pt>
                <c:pt idx="572">
                  <c:v>Feb-11 </c:v>
                </c:pt>
                <c:pt idx="573">
                  <c:v>Feb-11 </c:v>
                </c:pt>
                <c:pt idx="574">
                  <c:v>Feb-11 </c:v>
                </c:pt>
                <c:pt idx="575">
                  <c:v>Feb-11 </c:v>
                </c:pt>
                <c:pt idx="576">
                  <c:v>Feb-11 </c:v>
                </c:pt>
                <c:pt idx="577">
                  <c:v>Feb-11 </c:v>
                </c:pt>
                <c:pt idx="578">
                  <c:v>Feb-11 </c:v>
                </c:pt>
                <c:pt idx="579">
                  <c:v>Feb-11 </c:v>
                </c:pt>
                <c:pt idx="580">
                  <c:v>Feb-11 </c:v>
                </c:pt>
                <c:pt idx="581">
                  <c:v>Feb-11 </c:v>
                </c:pt>
                <c:pt idx="582">
                  <c:v>Feb-11 </c:v>
                </c:pt>
                <c:pt idx="583">
                  <c:v>Feb-11 </c:v>
                </c:pt>
                <c:pt idx="584">
                  <c:v>Feb-11 </c:v>
                </c:pt>
                <c:pt idx="585">
                  <c:v>Feb-11 </c:v>
                </c:pt>
                <c:pt idx="586">
                  <c:v>Feb-11 </c:v>
                </c:pt>
                <c:pt idx="587">
                  <c:v>Mar-11 </c:v>
                </c:pt>
                <c:pt idx="588">
                  <c:v>Mar-11 </c:v>
                </c:pt>
                <c:pt idx="589">
                  <c:v>Mar-11 </c:v>
                </c:pt>
                <c:pt idx="590">
                  <c:v>Mar-11 </c:v>
                </c:pt>
                <c:pt idx="591">
                  <c:v>Mar-11 </c:v>
                </c:pt>
                <c:pt idx="592">
                  <c:v>Mar-11 </c:v>
                </c:pt>
                <c:pt idx="593">
                  <c:v>Mar-11 </c:v>
                </c:pt>
                <c:pt idx="594">
                  <c:v>Mar-11 </c:v>
                </c:pt>
                <c:pt idx="595">
                  <c:v>Mar-11 </c:v>
                </c:pt>
                <c:pt idx="596">
                  <c:v>Mar-11 </c:v>
                </c:pt>
                <c:pt idx="597">
                  <c:v>Mar-11 </c:v>
                </c:pt>
                <c:pt idx="598">
                  <c:v>Mar-11 </c:v>
                </c:pt>
                <c:pt idx="599">
                  <c:v>Mar-11 </c:v>
                </c:pt>
                <c:pt idx="600">
                  <c:v>Mar-11 </c:v>
                </c:pt>
                <c:pt idx="601">
                  <c:v>Mar-11 </c:v>
                </c:pt>
                <c:pt idx="602">
                  <c:v>Mar-11 </c:v>
                </c:pt>
                <c:pt idx="603">
                  <c:v>Mar-11 </c:v>
                </c:pt>
                <c:pt idx="604">
                  <c:v>Mar-11 </c:v>
                </c:pt>
                <c:pt idx="605">
                  <c:v>Mar-11 </c:v>
                </c:pt>
                <c:pt idx="606">
                  <c:v>Mar-11 </c:v>
                </c:pt>
                <c:pt idx="607">
                  <c:v>Mar-11 </c:v>
                </c:pt>
                <c:pt idx="608">
                  <c:v>Mar-11 </c:v>
                </c:pt>
                <c:pt idx="609">
                  <c:v>Mar-11 </c:v>
                </c:pt>
                <c:pt idx="610">
                  <c:v>Apr-11</c:v>
                </c:pt>
                <c:pt idx="611">
                  <c:v>Apr-11</c:v>
                </c:pt>
                <c:pt idx="612">
                  <c:v>Apr-11</c:v>
                </c:pt>
                <c:pt idx="613">
                  <c:v>Apr-11</c:v>
                </c:pt>
                <c:pt idx="614">
                  <c:v>Apr-11</c:v>
                </c:pt>
                <c:pt idx="615">
                  <c:v>Apr-11</c:v>
                </c:pt>
                <c:pt idx="616">
                  <c:v>Apr-11</c:v>
                </c:pt>
                <c:pt idx="617">
                  <c:v>Apr-11</c:v>
                </c:pt>
                <c:pt idx="618">
                  <c:v>Apr-11</c:v>
                </c:pt>
                <c:pt idx="619">
                  <c:v>Apr-11</c:v>
                </c:pt>
                <c:pt idx="620">
                  <c:v>Apr-11</c:v>
                </c:pt>
                <c:pt idx="621">
                  <c:v>Apr-11</c:v>
                </c:pt>
                <c:pt idx="622">
                  <c:v>Apr-11</c:v>
                </c:pt>
                <c:pt idx="623">
                  <c:v>Apr-11</c:v>
                </c:pt>
                <c:pt idx="624">
                  <c:v>Apr-11</c:v>
                </c:pt>
                <c:pt idx="625">
                  <c:v>Apr-11</c:v>
                </c:pt>
                <c:pt idx="626">
                  <c:v>Apr-11</c:v>
                </c:pt>
                <c:pt idx="627">
                  <c:v>Apr-11</c:v>
                </c:pt>
                <c:pt idx="628">
                  <c:v>Apr-11</c:v>
                </c:pt>
                <c:pt idx="629">
                  <c:v>May-11 </c:v>
                </c:pt>
                <c:pt idx="630">
                  <c:v>May-11 </c:v>
                </c:pt>
                <c:pt idx="631">
                  <c:v>May-11 </c:v>
                </c:pt>
                <c:pt idx="632">
                  <c:v>May-11 </c:v>
                </c:pt>
                <c:pt idx="633">
                  <c:v>May-11 </c:v>
                </c:pt>
                <c:pt idx="634">
                  <c:v>May-11 </c:v>
                </c:pt>
                <c:pt idx="635">
                  <c:v>May-11 </c:v>
                </c:pt>
                <c:pt idx="636">
                  <c:v>May-11 </c:v>
                </c:pt>
                <c:pt idx="637">
                  <c:v>May-11 </c:v>
                </c:pt>
                <c:pt idx="638">
                  <c:v>May-11 </c:v>
                </c:pt>
                <c:pt idx="639">
                  <c:v>May-11 </c:v>
                </c:pt>
                <c:pt idx="640">
                  <c:v>May-11 </c:v>
                </c:pt>
                <c:pt idx="641">
                  <c:v>May-11 </c:v>
                </c:pt>
                <c:pt idx="642">
                  <c:v>May-11 </c:v>
                </c:pt>
                <c:pt idx="643">
                  <c:v>May-11 </c:v>
                </c:pt>
                <c:pt idx="644">
                  <c:v>May-11 </c:v>
                </c:pt>
                <c:pt idx="645">
                  <c:v>May-11 </c:v>
                </c:pt>
                <c:pt idx="646">
                  <c:v>May-11 </c:v>
                </c:pt>
                <c:pt idx="647">
                  <c:v>May-11 </c:v>
                </c:pt>
                <c:pt idx="648">
                  <c:v>May-11 </c:v>
                </c:pt>
                <c:pt idx="649">
                  <c:v>May-11 </c:v>
                </c:pt>
                <c:pt idx="650">
                  <c:v>May-11 </c:v>
                </c:pt>
                <c:pt idx="651">
                  <c:v>Jun-11 </c:v>
                </c:pt>
                <c:pt idx="652">
                  <c:v>Jun-11 </c:v>
                </c:pt>
                <c:pt idx="653">
                  <c:v>Jun-11 </c:v>
                </c:pt>
                <c:pt idx="654">
                  <c:v>Jun-11 </c:v>
                </c:pt>
                <c:pt idx="655">
                  <c:v>Jun-11 </c:v>
                </c:pt>
                <c:pt idx="656">
                  <c:v>Jun-11 </c:v>
                </c:pt>
                <c:pt idx="657">
                  <c:v>Jun-11 </c:v>
                </c:pt>
                <c:pt idx="658">
                  <c:v>Jun-11 </c:v>
                </c:pt>
                <c:pt idx="659">
                  <c:v>Jun-11 </c:v>
                </c:pt>
                <c:pt idx="660">
                  <c:v>Jun-11 </c:v>
                </c:pt>
                <c:pt idx="661">
                  <c:v>Jun-11 </c:v>
                </c:pt>
                <c:pt idx="662">
                  <c:v>Jun-11 </c:v>
                </c:pt>
                <c:pt idx="663">
                  <c:v>Jun-11 </c:v>
                </c:pt>
                <c:pt idx="664">
                  <c:v>Jun-11 </c:v>
                </c:pt>
                <c:pt idx="665">
                  <c:v>Jun-11 </c:v>
                </c:pt>
                <c:pt idx="666">
                  <c:v>Jun-11 </c:v>
                </c:pt>
                <c:pt idx="667">
                  <c:v>Jun-11 </c:v>
                </c:pt>
                <c:pt idx="668">
                  <c:v>Jun-11 </c:v>
                </c:pt>
                <c:pt idx="669">
                  <c:v>Jun-11 </c:v>
                </c:pt>
                <c:pt idx="670">
                  <c:v>Jun-11 </c:v>
                </c:pt>
                <c:pt idx="671">
                  <c:v>Jun-11 </c:v>
                </c:pt>
                <c:pt idx="672">
                  <c:v>Jun-11 </c:v>
                </c:pt>
                <c:pt idx="673">
                  <c:v>Jul-11</c:v>
                </c:pt>
                <c:pt idx="674">
                  <c:v>Jul-11</c:v>
                </c:pt>
                <c:pt idx="675">
                  <c:v>Jul-11</c:v>
                </c:pt>
                <c:pt idx="676">
                  <c:v>Jul-11</c:v>
                </c:pt>
                <c:pt idx="677">
                  <c:v>Jul-11</c:v>
                </c:pt>
                <c:pt idx="678">
                  <c:v>Jul-11</c:v>
                </c:pt>
                <c:pt idx="679">
                  <c:v>Jul-11</c:v>
                </c:pt>
                <c:pt idx="680">
                  <c:v>Jul-11</c:v>
                </c:pt>
                <c:pt idx="681">
                  <c:v>Jul-11</c:v>
                </c:pt>
                <c:pt idx="682">
                  <c:v>Jul-11</c:v>
                </c:pt>
                <c:pt idx="683">
                  <c:v>Jul-11</c:v>
                </c:pt>
                <c:pt idx="684">
                  <c:v>Jul-11</c:v>
                </c:pt>
                <c:pt idx="685">
                  <c:v>Jul-11</c:v>
                </c:pt>
                <c:pt idx="686">
                  <c:v>Jul-11</c:v>
                </c:pt>
                <c:pt idx="687">
                  <c:v>Jul-11</c:v>
                </c:pt>
                <c:pt idx="688">
                  <c:v>Jul-11</c:v>
                </c:pt>
                <c:pt idx="689">
                  <c:v>Jul-11</c:v>
                </c:pt>
                <c:pt idx="690">
                  <c:v>Jul-11</c:v>
                </c:pt>
                <c:pt idx="691">
                  <c:v>Jul-11</c:v>
                </c:pt>
                <c:pt idx="692">
                  <c:v>Jul-11</c:v>
                </c:pt>
                <c:pt idx="693">
                  <c:v>Jul-11</c:v>
                </c:pt>
                <c:pt idx="694">
                  <c:v>Aug-11 </c:v>
                </c:pt>
                <c:pt idx="695">
                  <c:v>Aug-11 </c:v>
                </c:pt>
                <c:pt idx="696">
                  <c:v>Aug-11 </c:v>
                </c:pt>
                <c:pt idx="697">
                  <c:v>Aug-11 </c:v>
                </c:pt>
                <c:pt idx="698">
                  <c:v>Aug-11 </c:v>
                </c:pt>
                <c:pt idx="699">
                  <c:v>Aug-11 </c:v>
                </c:pt>
                <c:pt idx="700">
                  <c:v>Aug-11 </c:v>
                </c:pt>
                <c:pt idx="701">
                  <c:v>Aug-11 </c:v>
                </c:pt>
                <c:pt idx="702">
                  <c:v>Aug-11 </c:v>
                </c:pt>
                <c:pt idx="703">
                  <c:v>Aug-11 </c:v>
                </c:pt>
                <c:pt idx="704">
                  <c:v>Aug-11 </c:v>
                </c:pt>
                <c:pt idx="705">
                  <c:v>Aug-11 </c:v>
                </c:pt>
                <c:pt idx="706">
                  <c:v>Aug-11 </c:v>
                </c:pt>
                <c:pt idx="707">
                  <c:v>Aug-11 </c:v>
                </c:pt>
                <c:pt idx="708">
                  <c:v>Aug-11 </c:v>
                </c:pt>
                <c:pt idx="709">
                  <c:v>Aug-11 </c:v>
                </c:pt>
                <c:pt idx="710">
                  <c:v>Aug-11 </c:v>
                </c:pt>
                <c:pt idx="711">
                  <c:v>Aug-11 </c:v>
                </c:pt>
                <c:pt idx="712">
                  <c:v>Aug-11 </c:v>
                </c:pt>
                <c:pt idx="713">
                  <c:v>Aug-11 </c:v>
                </c:pt>
                <c:pt idx="714">
                  <c:v>Aug-11 </c:v>
                </c:pt>
                <c:pt idx="715">
                  <c:v>Aug-11 </c:v>
                </c:pt>
                <c:pt idx="716">
                  <c:v>Aug-11 </c:v>
                </c:pt>
                <c:pt idx="717">
                  <c:v>Sep-11</c:v>
                </c:pt>
                <c:pt idx="718">
                  <c:v>Sep-11</c:v>
                </c:pt>
                <c:pt idx="719">
                  <c:v>Sep-11</c:v>
                </c:pt>
                <c:pt idx="720">
                  <c:v>Sep-11</c:v>
                </c:pt>
                <c:pt idx="721">
                  <c:v>Sep-11</c:v>
                </c:pt>
                <c:pt idx="722">
                  <c:v>Sep-11</c:v>
                </c:pt>
                <c:pt idx="723">
                  <c:v>Sep-11</c:v>
                </c:pt>
                <c:pt idx="724">
                  <c:v>Sep-11</c:v>
                </c:pt>
                <c:pt idx="725">
                  <c:v>Sep-11</c:v>
                </c:pt>
                <c:pt idx="726">
                  <c:v>Sep-11</c:v>
                </c:pt>
                <c:pt idx="727">
                  <c:v>Sep-11</c:v>
                </c:pt>
                <c:pt idx="728">
                  <c:v>Sep-11</c:v>
                </c:pt>
                <c:pt idx="729">
                  <c:v>Sep-11</c:v>
                </c:pt>
                <c:pt idx="730">
                  <c:v>Sep-11</c:v>
                </c:pt>
                <c:pt idx="731">
                  <c:v>Sep-11</c:v>
                </c:pt>
                <c:pt idx="732">
                  <c:v>Sep-11</c:v>
                </c:pt>
                <c:pt idx="733">
                  <c:v>Sep-11</c:v>
                </c:pt>
                <c:pt idx="734">
                  <c:v>Sep-11</c:v>
                </c:pt>
                <c:pt idx="735">
                  <c:v>Sep-11</c:v>
                </c:pt>
                <c:pt idx="736">
                  <c:v>Sep-11</c:v>
                </c:pt>
                <c:pt idx="737">
                  <c:v>Sep-11</c:v>
                </c:pt>
                <c:pt idx="738">
                  <c:v>Sep-11</c:v>
                </c:pt>
                <c:pt idx="739">
                  <c:v>Oct-11</c:v>
                </c:pt>
                <c:pt idx="740">
                  <c:v>Oct-11</c:v>
                </c:pt>
                <c:pt idx="741">
                  <c:v>Oct-11</c:v>
                </c:pt>
                <c:pt idx="742">
                  <c:v>Oct-11</c:v>
                </c:pt>
                <c:pt idx="743">
                  <c:v>Oct-11</c:v>
                </c:pt>
                <c:pt idx="744">
                  <c:v>Oct-11</c:v>
                </c:pt>
                <c:pt idx="745">
                  <c:v>Oct-11</c:v>
                </c:pt>
                <c:pt idx="746">
                  <c:v>Oct-11</c:v>
                </c:pt>
                <c:pt idx="747">
                  <c:v>Oct-11</c:v>
                </c:pt>
                <c:pt idx="748">
                  <c:v>Oct-11</c:v>
                </c:pt>
                <c:pt idx="749">
                  <c:v>Oct-11</c:v>
                </c:pt>
                <c:pt idx="750">
                  <c:v>Oct-11</c:v>
                </c:pt>
                <c:pt idx="751">
                  <c:v>Oct-11</c:v>
                </c:pt>
                <c:pt idx="752">
                  <c:v>Oct-11</c:v>
                </c:pt>
                <c:pt idx="753">
                  <c:v>Oct-11</c:v>
                </c:pt>
                <c:pt idx="754">
                  <c:v>Oct-11</c:v>
                </c:pt>
                <c:pt idx="755">
                  <c:v>Oct-11</c:v>
                </c:pt>
                <c:pt idx="756">
                  <c:v>Oct-11</c:v>
                </c:pt>
                <c:pt idx="757">
                  <c:v>Oct-11</c:v>
                </c:pt>
                <c:pt idx="758">
                  <c:v>Oct-11</c:v>
                </c:pt>
                <c:pt idx="759">
                  <c:v>Oct-11</c:v>
                </c:pt>
                <c:pt idx="760">
                  <c:v>Nov-11 </c:v>
                </c:pt>
                <c:pt idx="761">
                  <c:v>Nov-11 </c:v>
                </c:pt>
                <c:pt idx="762">
                  <c:v>Nov-11 </c:v>
                </c:pt>
                <c:pt idx="763">
                  <c:v>Nov-11 </c:v>
                </c:pt>
                <c:pt idx="764">
                  <c:v>Nov-11 </c:v>
                </c:pt>
                <c:pt idx="765">
                  <c:v>Nov-11 </c:v>
                </c:pt>
                <c:pt idx="766">
                  <c:v>Nov-11 </c:v>
                </c:pt>
                <c:pt idx="767">
                  <c:v>Nov-11 </c:v>
                </c:pt>
                <c:pt idx="768">
                  <c:v>Nov-11 </c:v>
                </c:pt>
                <c:pt idx="769">
                  <c:v>Nov-11 </c:v>
                </c:pt>
                <c:pt idx="770">
                  <c:v>Nov-11 </c:v>
                </c:pt>
                <c:pt idx="771">
                  <c:v>Nov-11 </c:v>
                </c:pt>
                <c:pt idx="772">
                  <c:v>Nov-11 </c:v>
                </c:pt>
                <c:pt idx="773">
                  <c:v>Nov-11 </c:v>
                </c:pt>
                <c:pt idx="774">
                  <c:v>Nov-11 </c:v>
                </c:pt>
                <c:pt idx="775">
                  <c:v>Nov-11 </c:v>
                </c:pt>
                <c:pt idx="776">
                  <c:v>Nov-11 </c:v>
                </c:pt>
                <c:pt idx="777">
                  <c:v>Nov-11 </c:v>
                </c:pt>
                <c:pt idx="778">
                  <c:v>Nov-11 </c:v>
                </c:pt>
                <c:pt idx="779">
                  <c:v>Nov-11 </c:v>
                </c:pt>
                <c:pt idx="780">
                  <c:v>Nov-11 </c:v>
                </c:pt>
                <c:pt idx="781">
                  <c:v>Nov-11 </c:v>
                </c:pt>
                <c:pt idx="782">
                  <c:v>Dec-11</c:v>
                </c:pt>
                <c:pt idx="783">
                  <c:v>Dec-11</c:v>
                </c:pt>
                <c:pt idx="784">
                  <c:v>Dec-11</c:v>
                </c:pt>
                <c:pt idx="785">
                  <c:v>Dec-11</c:v>
                </c:pt>
                <c:pt idx="786">
                  <c:v>Dec-11</c:v>
                </c:pt>
                <c:pt idx="787">
                  <c:v>Dec-11</c:v>
                </c:pt>
                <c:pt idx="788">
                  <c:v>Dec-11</c:v>
                </c:pt>
                <c:pt idx="789">
                  <c:v>Dec-11</c:v>
                </c:pt>
                <c:pt idx="790">
                  <c:v>Dec-11</c:v>
                </c:pt>
                <c:pt idx="791">
                  <c:v>Dec-11</c:v>
                </c:pt>
                <c:pt idx="792">
                  <c:v>Dec-11</c:v>
                </c:pt>
                <c:pt idx="793">
                  <c:v>Dec-11</c:v>
                </c:pt>
                <c:pt idx="794">
                  <c:v>Dec-11</c:v>
                </c:pt>
                <c:pt idx="795">
                  <c:v>Dec-11</c:v>
                </c:pt>
                <c:pt idx="796">
                  <c:v>Dec-11</c:v>
                </c:pt>
                <c:pt idx="797">
                  <c:v>Dec-11</c:v>
                </c:pt>
                <c:pt idx="798">
                  <c:v>Dec-11</c:v>
                </c:pt>
                <c:pt idx="799">
                  <c:v>Dec-11</c:v>
                </c:pt>
                <c:pt idx="800">
                  <c:v>Dec-11</c:v>
                </c:pt>
                <c:pt idx="801">
                  <c:v>Dec-11</c:v>
                </c:pt>
                <c:pt idx="802">
                  <c:v>Dec-11</c:v>
                </c:pt>
                <c:pt idx="803">
                  <c:v>Jan-12 </c:v>
                </c:pt>
                <c:pt idx="804">
                  <c:v>Jan-12 </c:v>
                </c:pt>
                <c:pt idx="805">
                  <c:v>Jan-12 </c:v>
                </c:pt>
                <c:pt idx="806">
                  <c:v>Jan-12 </c:v>
                </c:pt>
                <c:pt idx="807">
                  <c:v>Jan-12 </c:v>
                </c:pt>
                <c:pt idx="808">
                  <c:v>Jan-12 </c:v>
                </c:pt>
                <c:pt idx="809">
                  <c:v>Jan-12 </c:v>
                </c:pt>
                <c:pt idx="810">
                  <c:v>Jan-12 </c:v>
                </c:pt>
                <c:pt idx="811">
                  <c:v>Jan-12 </c:v>
                </c:pt>
                <c:pt idx="812">
                  <c:v>Jan-12 </c:v>
                </c:pt>
                <c:pt idx="813">
                  <c:v>Jan-12 </c:v>
                </c:pt>
                <c:pt idx="814">
                  <c:v>Jan-12 </c:v>
                </c:pt>
                <c:pt idx="815">
                  <c:v>Jan-12 </c:v>
                </c:pt>
                <c:pt idx="816">
                  <c:v>Jan-12 </c:v>
                </c:pt>
                <c:pt idx="817">
                  <c:v>Jan-12 </c:v>
                </c:pt>
                <c:pt idx="818">
                  <c:v>Jan-12 </c:v>
                </c:pt>
                <c:pt idx="819">
                  <c:v>Jan-12 </c:v>
                </c:pt>
                <c:pt idx="820">
                  <c:v>Jan-12 </c:v>
                </c:pt>
                <c:pt idx="821">
                  <c:v>Jan-12 </c:v>
                </c:pt>
                <c:pt idx="822">
                  <c:v>Jan-12 </c:v>
                </c:pt>
                <c:pt idx="823">
                  <c:v>Jan-12 </c:v>
                </c:pt>
                <c:pt idx="824">
                  <c:v>Jan-12 </c:v>
                </c:pt>
                <c:pt idx="825">
                  <c:v>Feb-12 </c:v>
                </c:pt>
                <c:pt idx="826">
                  <c:v>Feb-12 </c:v>
                </c:pt>
                <c:pt idx="827">
                  <c:v>Feb-12 </c:v>
                </c:pt>
                <c:pt idx="828">
                  <c:v>Feb-12 </c:v>
                </c:pt>
                <c:pt idx="829">
                  <c:v>Feb-12 </c:v>
                </c:pt>
                <c:pt idx="830">
                  <c:v>Feb-12 </c:v>
                </c:pt>
                <c:pt idx="831">
                  <c:v>Feb-12 </c:v>
                </c:pt>
                <c:pt idx="832">
                  <c:v>Feb-12 </c:v>
                </c:pt>
                <c:pt idx="833">
                  <c:v>Feb-12 </c:v>
                </c:pt>
                <c:pt idx="834">
                  <c:v>Feb-12 </c:v>
                </c:pt>
                <c:pt idx="835">
                  <c:v>Feb-12 </c:v>
                </c:pt>
                <c:pt idx="836">
                  <c:v>Feb-12 </c:v>
                </c:pt>
                <c:pt idx="837">
                  <c:v>Feb-12 </c:v>
                </c:pt>
                <c:pt idx="838">
                  <c:v>Feb-12 </c:v>
                </c:pt>
                <c:pt idx="839">
                  <c:v>Feb-12 </c:v>
                </c:pt>
                <c:pt idx="840">
                  <c:v>Feb-12 </c:v>
                </c:pt>
                <c:pt idx="841">
                  <c:v>Feb-12 </c:v>
                </c:pt>
                <c:pt idx="842">
                  <c:v>Feb-12 </c:v>
                </c:pt>
                <c:pt idx="843">
                  <c:v>Feb-12 </c:v>
                </c:pt>
                <c:pt idx="844">
                  <c:v>Feb-12 </c:v>
                </c:pt>
                <c:pt idx="845">
                  <c:v>Feb-12 </c:v>
                </c:pt>
                <c:pt idx="846">
                  <c:v>Mar-12 </c:v>
                </c:pt>
                <c:pt idx="847">
                  <c:v>Mar-12 </c:v>
                </c:pt>
                <c:pt idx="848">
                  <c:v>Mar-12 </c:v>
                </c:pt>
                <c:pt idx="849">
                  <c:v>Mar-12 </c:v>
                </c:pt>
                <c:pt idx="850">
                  <c:v>Mar-12 </c:v>
                </c:pt>
                <c:pt idx="851">
                  <c:v>Mar-12 </c:v>
                </c:pt>
                <c:pt idx="852">
                  <c:v>Mar-12 </c:v>
                </c:pt>
                <c:pt idx="853">
                  <c:v>Mar-12 </c:v>
                </c:pt>
                <c:pt idx="854">
                  <c:v>Mar-12 </c:v>
                </c:pt>
                <c:pt idx="855">
                  <c:v>Mar-12 </c:v>
                </c:pt>
                <c:pt idx="856">
                  <c:v>Mar-12 </c:v>
                </c:pt>
                <c:pt idx="857">
                  <c:v>Mar-12 </c:v>
                </c:pt>
                <c:pt idx="858">
                  <c:v>Mar-12 </c:v>
                </c:pt>
                <c:pt idx="859">
                  <c:v>Mar-12 </c:v>
                </c:pt>
                <c:pt idx="860">
                  <c:v>Mar-12 </c:v>
                </c:pt>
                <c:pt idx="861">
                  <c:v>Mar-12 </c:v>
                </c:pt>
                <c:pt idx="862">
                  <c:v>Mar-12 </c:v>
                </c:pt>
                <c:pt idx="863">
                  <c:v>Mar-12 </c:v>
                </c:pt>
                <c:pt idx="864">
                  <c:v>Mar-12 </c:v>
                </c:pt>
                <c:pt idx="865">
                  <c:v>Mar-12 </c:v>
                </c:pt>
                <c:pt idx="866">
                  <c:v>Mar-12 </c:v>
                </c:pt>
                <c:pt idx="867">
                  <c:v>Mar-12 </c:v>
                </c:pt>
                <c:pt idx="868">
                  <c:v>Apr-12</c:v>
                </c:pt>
                <c:pt idx="869">
                  <c:v>Apr-12</c:v>
                </c:pt>
                <c:pt idx="870">
                  <c:v>Apr-12</c:v>
                </c:pt>
                <c:pt idx="871">
                  <c:v>Apr-12</c:v>
                </c:pt>
                <c:pt idx="872">
                  <c:v>Apr-12</c:v>
                </c:pt>
                <c:pt idx="873">
                  <c:v>Apr-12</c:v>
                </c:pt>
                <c:pt idx="874">
                  <c:v>Apr-12</c:v>
                </c:pt>
                <c:pt idx="875">
                  <c:v>Apr-12</c:v>
                </c:pt>
                <c:pt idx="876">
                  <c:v>Apr-12</c:v>
                </c:pt>
                <c:pt idx="877">
                  <c:v>Apr-12</c:v>
                </c:pt>
                <c:pt idx="878">
                  <c:v>Apr-12</c:v>
                </c:pt>
                <c:pt idx="879">
                  <c:v>Apr-12</c:v>
                </c:pt>
                <c:pt idx="880">
                  <c:v>Apr-12</c:v>
                </c:pt>
                <c:pt idx="881">
                  <c:v>Apr-12</c:v>
                </c:pt>
                <c:pt idx="882">
                  <c:v>Apr-12</c:v>
                </c:pt>
                <c:pt idx="883">
                  <c:v>Apr-12</c:v>
                </c:pt>
                <c:pt idx="884">
                  <c:v>Apr-12</c:v>
                </c:pt>
                <c:pt idx="885">
                  <c:v>Apr-12</c:v>
                </c:pt>
                <c:pt idx="886">
                  <c:v>Apr-12</c:v>
                </c:pt>
                <c:pt idx="887">
                  <c:v>May-12 </c:v>
                </c:pt>
                <c:pt idx="888">
                  <c:v>May-12 </c:v>
                </c:pt>
                <c:pt idx="889">
                  <c:v>May-12 </c:v>
                </c:pt>
                <c:pt idx="890">
                  <c:v>May-12 </c:v>
                </c:pt>
                <c:pt idx="891">
                  <c:v>May-12 </c:v>
                </c:pt>
                <c:pt idx="892">
                  <c:v>May-12 </c:v>
                </c:pt>
                <c:pt idx="893">
                  <c:v>May-12 </c:v>
                </c:pt>
                <c:pt idx="894">
                  <c:v>May-12 </c:v>
                </c:pt>
                <c:pt idx="895">
                  <c:v>May-12 </c:v>
                </c:pt>
                <c:pt idx="896">
                  <c:v>May-12 </c:v>
                </c:pt>
                <c:pt idx="897">
                  <c:v>May-12 </c:v>
                </c:pt>
                <c:pt idx="898">
                  <c:v>May-12 </c:v>
                </c:pt>
                <c:pt idx="899">
                  <c:v>May-12 </c:v>
                </c:pt>
                <c:pt idx="900">
                  <c:v>May-12 </c:v>
                </c:pt>
                <c:pt idx="901">
                  <c:v>May-12 </c:v>
                </c:pt>
                <c:pt idx="902">
                  <c:v>May-12 </c:v>
                </c:pt>
                <c:pt idx="903">
                  <c:v>May-12 </c:v>
                </c:pt>
                <c:pt idx="904">
                  <c:v>May-12 </c:v>
                </c:pt>
                <c:pt idx="905">
                  <c:v>May-12 </c:v>
                </c:pt>
                <c:pt idx="906">
                  <c:v>May-12 </c:v>
                </c:pt>
                <c:pt idx="907">
                  <c:v>May-12 </c:v>
                </c:pt>
                <c:pt idx="908">
                  <c:v>May-12 </c:v>
                </c:pt>
                <c:pt idx="909">
                  <c:v>May-12 </c:v>
                </c:pt>
                <c:pt idx="910">
                  <c:v>Jun-12 </c:v>
                </c:pt>
                <c:pt idx="911">
                  <c:v>Jun-12 </c:v>
                </c:pt>
                <c:pt idx="912">
                  <c:v>Jun-12 </c:v>
                </c:pt>
                <c:pt idx="913">
                  <c:v>Jun-12 </c:v>
                </c:pt>
                <c:pt idx="914">
                  <c:v>Jun-12 </c:v>
                </c:pt>
                <c:pt idx="915">
                  <c:v>Jun-12 </c:v>
                </c:pt>
                <c:pt idx="916">
                  <c:v>Jun-12 </c:v>
                </c:pt>
                <c:pt idx="917">
                  <c:v>Jun-12 </c:v>
                </c:pt>
                <c:pt idx="918">
                  <c:v>Jun-12 </c:v>
                </c:pt>
                <c:pt idx="919">
                  <c:v>Jun-12 </c:v>
                </c:pt>
                <c:pt idx="920">
                  <c:v>Jun-12 </c:v>
                </c:pt>
                <c:pt idx="921">
                  <c:v>Jun-12 </c:v>
                </c:pt>
                <c:pt idx="922">
                  <c:v>Jun-12 </c:v>
                </c:pt>
                <c:pt idx="923">
                  <c:v>Jun-12 </c:v>
                </c:pt>
                <c:pt idx="924">
                  <c:v>Jun-12 </c:v>
                </c:pt>
                <c:pt idx="925">
                  <c:v>Jun-12 </c:v>
                </c:pt>
                <c:pt idx="926">
                  <c:v>Jun-12 </c:v>
                </c:pt>
                <c:pt idx="927">
                  <c:v>Jun-12 </c:v>
                </c:pt>
                <c:pt idx="928">
                  <c:v>Jun-12 </c:v>
                </c:pt>
                <c:pt idx="929">
                  <c:v>Jun-12 </c:v>
                </c:pt>
                <c:pt idx="930">
                  <c:v>Jun-12 </c:v>
                </c:pt>
                <c:pt idx="931">
                  <c:v>Jul-12</c:v>
                </c:pt>
                <c:pt idx="932">
                  <c:v>Jul-12</c:v>
                </c:pt>
                <c:pt idx="933">
                  <c:v>Jul-12</c:v>
                </c:pt>
                <c:pt idx="934">
                  <c:v>Jul-12</c:v>
                </c:pt>
                <c:pt idx="935">
                  <c:v>Jul-12</c:v>
                </c:pt>
                <c:pt idx="936">
                  <c:v>Jul-12</c:v>
                </c:pt>
                <c:pt idx="937">
                  <c:v>Jul-12</c:v>
                </c:pt>
                <c:pt idx="938">
                  <c:v>Jul-12</c:v>
                </c:pt>
                <c:pt idx="939">
                  <c:v>Jul-12</c:v>
                </c:pt>
                <c:pt idx="940">
                  <c:v>Jul-12</c:v>
                </c:pt>
                <c:pt idx="941">
                  <c:v>Jul-12</c:v>
                </c:pt>
                <c:pt idx="942">
                  <c:v>Jul-12</c:v>
                </c:pt>
                <c:pt idx="943">
                  <c:v>Jul-12</c:v>
                </c:pt>
                <c:pt idx="944">
                  <c:v>Jul-12</c:v>
                </c:pt>
                <c:pt idx="945">
                  <c:v>Jul-12</c:v>
                </c:pt>
                <c:pt idx="946">
                  <c:v>Jul-12</c:v>
                </c:pt>
                <c:pt idx="947">
                  <c:v>Jul-12</c:v>
                </c:pt>
                <c:pt idx="948">
                  <c:v>Jul-12</c:v>
                </c:pt>
                <c:pt idx="949">
                  <c:v>Jul-12</c:v>
                </c:pt>
                <c:pt idx="950">
                  <c:v>Jul-12</c:v>
                </c:pt>
                <c:pt idx="951">
                  <c:v>Jul-12</c:v>
                </c:pt>
                <c:pt idx="952">
                  <c:v>Jul-12</c:v>
                </c:pt>
                <c:pt idx="953">
                  <c:v>Aug-12 </c:v>
                </c:pt>
                <c:pt idx="954">
                  <c:v>Aug-12 </c:v>
                </c:pt>
                <c:pt idx="955">
                  <c:v>Aug-12 </c:v>
                </c:pt>
                <c:pt idx="956">
                  <c:v>Aug-12 </c:v>
                </c:pt>
                <c:pt idx="957">
                  <c:v>Aug-12 </c:v>
                </c:pt>
                <c:pt idx="958">
                  <c:v>Aug-12 </c:v>
                </c:pt>
                <c:pt idx="959">
                  <c:v>Aug-12 </c:v>
                </c:pt>
                <c:pt idx="960">
                  <c:v>Aug-12 </c:v>
                </c:pt>
                <c:pt idx="961">
                  <c:v>Aug-12 </c:v>
                </c:pt>
                <c:pt idx="962">
                  <c:v>Aug-12 </c:v>
                </c:pt>
                <c:pt idx="963">
                  <c:v>Aug-12 </c:v>
                </c:pt>
                <c:pt idx="964">
                  <c:v>Aug-12 </c:v>
                </c:pt>
                <c:pt idx="965">
                  <c:v>Aug-12 </c:v>
                </c:pt>
                <c:pt idx="966">
                  <c:v>Aug-12 </c:v>
                </c:pt>
                <c:pt idx="967">
                  <c:v>Aug-12 </c:v>
                </c:pt>
                <c:pt idx="968">
                  <c:v>Aug-12 </c:v>
                </c:pt>
                <c:pt idx="969">
                  <c:v>Aug-12 </c:v>
                </c:pt>
                <c:pt idx="970">
                  <c:v>Aug-12 </c:v>
                </c:pt>
                <c:pt idx="971">
                  <c:v>Aug-12 </c:v>
                </c:pt>
                <c:pt idx="972">
                  <c:v>Aug-12 </c:v>
                </c:pt>
                <c:pt idx="973">
                  <c:v>Aug-12 </c:v>
                </c:pt>
                <c:pt idx="974">
                  <c:v>Aug-12 </c:v>
                </c:pt>
                <c:pt idx="975">
                  <c:v>Aug-12 </c:v>
                </c:pt>
                <c:pt idx="976">
                  <c:v>Sep-12</c:v>
                </c:pt>
                <c:pt idx="977">
                  <c:v>Sep-12</c:v>
                </c:pt>
                <c:pt idx="978">
                  <c:v>Sep-12</c:v>
                </c:pt>
                <c:pt idx="979">
                  <c:v>Sep-12</c:v>
                </c:pt>
                <c:pt idx="980">
                  <c:v>Sep-12</c:v>
                </c:pt>
                <c:pt idx="981">
                  <c:v>Sep-12</c:v>
                </c:pt>
                <c:pt idx="982">
                  <c:v>Sep-12</c:v>
                </c:pt>
                <c:pt idx="983">
                  <c:v>Sep-12</c:v>
                </c:pt>
                <c:pt idx="984">
                  <c:v>Sep-12</c:v>
                </c:pt>
                <c:pt idx="985">
                  <c:v>Sep-12</c:v>
                </c:pt>
                <c:pt idx="986">
                  <c:v>Sep-12</c:v>
                </c:pt>
                <c:pt idx="987">
                  <c:v>Sep-12</c:v>
                </c:pt>
                <c:pt idx="988">
                  <c:v>Sep-12</c:v>
                </c:pt>
                <c:pt idx="989">
                  <c:v>Sep-12</c:v>
                </c:pt>
                <c:pt idx="990">
                  <c:v>Sep-12</c:v>
                </c:pt>
                <c:pt idx="991">
                  <c:v>Sep-12</c:v>
                </c:pt>
                <c:pt idx="992">
                  <c:v>Sep-12</c:v>
                </c:pt>
                <c:pt idx="993">
                  <c:v>Sep-12</c:v>
                </c:pt>
                <c:pt idx="994">
                  <c:v>Sep-12</c:v>
                </c:pt>
                <c:pt idx="995">
                  <c:v>Sep-12</c:v>
                </c:pt>
                <c:pt idx="996">
                  <c:v>Oct-12</c:v>
                </c:pt>
                <c:pt idx="997">
                  <c:v>Oct-12</c:v>
                </c:pt>
                <c:pt idx="998">
                  <c:v>Oct-12</c:v>
                </c:pt>
                <c:pt idx="999">
                  <c:v>Oct-12</c:v>
                </c:pt>
                <c:pt idx="1000">
                  <c:v>Oct-12</c:v>
                </c:pt>
                <c:pt idx="1001">
                  <c:v>Oct-12</c:v>
                </c:pt>
                <c:pt idx="1002">
                  <c:v>Oct-12</c:v>
                </c:pt>
                <c:pt idx="1003">
                  <c:v>Oct-12</c:v>
                </c:pt>
                <c:pt idx="1004">
                  <c:v>Oct-12</c:v>
                </c:pt>
                <c:pt idx="1005">
                  <c:v>Oct-12</c:v>
                </c:pt>
                <c:pt idx="1006">
                  <c:v>Oct-12</c:v>
                </c:pt>
                <c:pt idx="1007">
                  <c:v>Oct-12</c:v>
                </c:pt>
                <c:pt idx="1008">
                  <c:v>Oct-12</c:v>
                </c:pt>
                <c:pt idx="1009">
                  <c:v>Oct-12</c:v>
                </c:pt>
                <c:pt idx="1010">
                  <c:v>Oct-12</c:v>
                </c:pt>
                <c:pt idx="1011">
                  <c:v>Oct-12</c:v>
                </c:pt>
                <c:pt idx="1012">
                  <c:v>Oct-12</c:v>
                </c:pt>
                <c:pt idx="1013">
                  <c:v>Oct-12</c:v>
                </c:pt>
                <c:pt idx="1014">
                  <c:v>Oct-12</c:v>
                </c:pt>
                <c:pt idx="1015">
                  <c:v>Oct-12</c:v>
                </c:pt>
                <c:pt idx="1016">
                  <c:v>Oct-12</c:v>
                </c:pt>
                <c:pt idx="1017">
                  <c:v>Oct-12</c:v>
                </c:pt>
                <c:pt idx="1018">
                  <c:v>Oct-12</c:v>
                </c:pt>
                <c:pt idx="1019">
                  <c:v>Nov-12 </c:v>
                </c:pt>
                <c:pt idx="1020">
                  <c:v>Nov-12 </c:v>
                </c:pt>
                <c:pt idx="1021">
                  <c:v>Nov-12 </c:v>
                </c:pt>
                <c:pt idx="1022">
                  <c:v>Nov-12 </c:v>
                </c:pt>
                <c:pt idx="1023">
                  <c:v>Nov-12 </c:v>
                </c:pt>
                <c:pt idx="1024">
                  <c:v>Nov-12 </c:v>
                </c:pt>
                <c:pt idx="1025">
                  <c:v>Nov-12 </c:v>
                </c:pt>
                <c:pt idx="1026">
                  <c:v>Nov-12 </c:v>
                </c:pt>
                <c:pt idx="1027">
                  <c:v>Nov-12 </c:v>
                </c:pt>
                <c:pt idx="1028">
                  <c:v>Nov-12 </c:v>
                </c:pt>
                <c:pt idx="1029">
                  <c:v>Nov-12 </c:v>
                </c:pt>
                <c:pt idx="1030">
                  <c:v>Nov-12 </c:v>
                </c:pt>
                <c:pt idx="1031">
                  <c:v>Nov-12 </c:v>
                </c:pt>
                <c:pt idx="1032">
                  <c:v>Nov-12 </c:v>
                </c:pt>
                <c:pt idx="1033">
                  <c:v>Nov-12 </c:v>
                </c:pt>
                <c:pt idx="1034">
                  <c:v>Nov-12 </c:v>
                </c:pt>
                <c:pt idx="1035">
                  <c:v>Nov-12 </c:v>
                </c:pt>
                <c:pt idx="1036">
                  <c:v>Nov-12 </c:v>
                </c:pt>
                <c:pt idx="1037">
                  <c:v>Nov-12 </c:v>
                </c:pt>
                <c:pt idx="1038">
                  <c:v>Nov-12 </c:v>
                </c:pt>
                <c:pt idx="1039">
                  <c:v>Nov-12 </c:v>
                </c:pt>
                <c:pt idx="1040">
                  <c:v>Nov-12 </c:v>
                </c:pt>
                <c:pt idx="1041">
                  <c:v>Dec-12</c:v>
                </c:pt>
                <c:pt idx="1042">
                  <c:v>Dec-12</c:v>
                </c:pt>
                <c:pt idx="1043">
                  <c:v>Dec-12</c:v>
                </c:pt>
                <c:pt idx="1044">
                  <c:v>Dec-12</c:v>
                </c:pt>
                <c:pt idx="1045">
                  <c:v>Dec-12</c:v>
                </c:pt>
                <c:pt idx="1046">
                  <c:v>Dec-12</c:v>
                </c:pt>
                <c:pt idx="1047">
                  <c:v>Dec-12</c:v>
                </c:pt>
                <c:pt idx="1048">
                  <c:v>Dec-12</c:v>
                </c:pt>
                <c:pt idx="1049">
                  <c:v>Dec-12</c:v>
                </c:pt>
                <c:pt idx="1050">
                  <c:v>Dec-12</c:v>
                </c:pt>
                <c:pt idx="1051">
                  <c:v>Dec-12</c:v>
                </c:pt>
                <c:pt idx="1052">
                  <c:v>Dec-12</c:v>
                </c:pt>
                <c:pt idx="1053">
                  <c:v>Dec-12</c:v>
                </c:pt>
                <c:pt idx="1054">
                  <c:v>Dec-12</c:v>
                </c:pt>
                <c:pt idx="1055">
                  <c:v>Dec-12</c:v>
                </c:pt>
                <c:pt idx="1056">
                  <c:v>Dec-12</c:v>
                </c:pt>
                <c:pt idx="1057">
                  <c:v>Dec-12</c:v>
                </c:pt>
                <c:pt idx="1058">
                  <c:v>Dec-12</c:v>
                </c:pt>
                <c:pt idx="1059">
                  <c:v>Dec-12</c:v>
                </c:pt>
                <c:pt idx="1060">
                  <c:v>Jan-13 </c:v>
                </c:pt>
                <c:pt idx="1061">
                  <c:v>Jan-13 </c:v>
                </c:pt>
                <c:pt idx="1062">
                  <c:v>Jan-13 </c:v>
                </c:pt>
                <c:pt idx="1063">
                  <c:v>Jan-13 </c:v>
                </c:pt>
                <c:pt idx="1064">
                  <c:v>Jan-13 </c:v>
                </c:pt>
                <c:pt idx="1065">
                  <c:v>Jan-13 </c:v>
                </c:pt>
                <c:pt idx="1066">
                  <c:v>Jan-13 </c:v>
                </c:pt>
                <c:pt idx="1067">
                  <c:v>Jan-13 </c:v>
                </c:pt>
                <c:pt idx="1068">
                  <c:v>Jan-13 </c:v>
                </c:pt>
                <c:pt idx="1069">
                  <c:v>Jan-13 </c:v>
                </c:pt>
                <c:pt idx="1070">
                  <c:v>Jan-13 </c:v>
                </c:pt>
                <c:pt idx="1071">
                  <c:v>Jan-13 </c:v>
                </c:pt>
                <c:pt idx="1072">
                  <c:v>Jan-13 </c:v>
                </c:pt>
                <c:pt idx="1073">
                  <c:v>Jan-13 </c:v>
                </c:pt>
                <c:pt idx="1074">
                  <c:v>Jan-13 </c:v>
                </c:pt>
                <c:pt idx="1075">
                  <c:v>Jan-13 </c:v>
                </c:pt>
                <c:pt idx="1076">
                  <c:v>Jan-13 </c:v>
                </c:pt>
                <c:pt idx="1077">
                  <c:v>Jan-13 </c:v>
                </c:pt>
                <c:pt idx="1078">
                  <c:v>Jan-13 </c:v>
                </c:pt>
                <c:pt idx="1079">
                  <c:v>Jan-13 </c:v>
                </c:pt>
                <c:pt idx="1080">
                  <c:v>Jan-13 </c:v>
                </c:pt>
                <c:pt idx="1081">
                  <c:v>Jan-13 </c:v>
                </c:pt>
                <c:pt idx="1082">
                  <c:v>Feb-13 </c:v>
                </c:pt>
                <c:pt idx="1083">
                  <c:v>Feb-13 </c:v>
                </c:pt>
                <c:pt idx="1084">
                  <c:v>Feb-13 </c:v>
                </c:pt>
                <c:pt idx="1085">
                  <c:v>Feb-13 </c:v>
                </c:pt>
                <c:pt idx="1086">
                  <c:v>Feb-13 </c:v>
                </c:pt>
                <c:pt idx="1087">
                  <c:v>Feb-13 </c:v>
                </c:pt>
                <c:pt idx="1088">
                  <c:v>Feb-13 </c:v>
                </c:pt>
                <c:pt idx="1089">
                  <c:v>Feb-13 </c:v>
                </c:pt>
                <c:pt idx="1090">
                  <c:v>Feb-13 </c:v>
                </c:pt>
                <c:pt idx="1091">
                  <c:v>Feb-13 </c:v>
                </c:pt>
                <c:pt idx="1092">
                  <c:v>Feb-13 </c:v>
                </c:pt>
                <c:pt idx="1093">
                  <c:v>Feb-13 </c:v>
                </c:pt>
                <c:pt idx="1094">
                  <c:v>Feb-13 </c:v>
                </c:pt>
                <c:pt idx="1095">
                  <c:v>Feb-13 </c:v>
                </c:pt>
                <c:pt idx="1096">
                  <c:v>Feb-13 </c:v>
                </c:pt>
                <c:pt idx="1097">
                  <c:v>Feb-13 </c:v>
                </c:pt>
                <c:pt idx="1098">
                  <c:v>Feb-13 </c:v>
                </c:pt>
                <c:pt idx="1099">
                  <c:v>Feb-13 </c:v>
                </c:pt>
                <c:pt idx="1100">
                  <c:v>Feb-13 </c:v>
                </c:pt>
                <c:pt idx="1101">
                  <c:v>Feb-13 </c:v>
                </c:pt>
                <c:pt idx="1102">
                  <c:v>Mar-13 </c:v>
                </c:pt>
                <c:pt idx="1103">
                  <c:v>Mar-13 </c:v>
                </c:pt>
                <c:pt idx="1104">
                  <c:v>Mar-13 </c:v>
                </c:pt>
                <c:pt idx="1105">
                  <c:v>Mar-13 </c:v>
                </c:pt>
                <c:pt idx="1106">
                  <c:v>Mar-13 </c:v>
                </c:pt>
                <c:pt idx="1107">
                  <c:v>Mar-13 </c:v>
                </c:pt>
                <c:pt idx="1108">
                  <c:v>Mar-13 </c:v>
                </c:pt>
                <c:pt idx="1109">
                  <c:v>Mar-13 </c:v>
                </c:pt>
                <c:pt idx="1110">
                  <c:v>Mar-13 </c:v>
                </c:pt>
                <c:pt idx="1111">
                  <c:v>Mar-13 </c:v>
                </c:pt>
                <c:pt idx="1112">
                  <c:v>Mar-13 </c:v>
                </c:pt>
                <c:pt idx="1113">
                  <c:v>Mar-13 </c:v>
                </c:pt>
                <c:pt idx="1114">
                  <c:v>Mar-13 </c:v>
                </c:pt>
                <c:pt idx="1115">
                  <c:v>Mar-13 </c:v>
                </c:pt>
                <c:pt idx="1116">
                  <c:v>Mar-13 </c:v>
                </c:pt>
                <c:pt idx="1117">
                  <c:v>Mar-13 </c:v>
                </c:pt>
                <c:pt idx="1118">
                  <c:v>Mar-13 </c:v>
                </c:pt>
                <c:pt idx="1119">
                  <c:v>Mar-13 </c:v>
                </c:pt>
                <c:pt idx="1120">
                  <c:v>Mar-13 </c:v>
                </c:pt>
                <c:pt idx="1121">
                  <c:v>Mar-13 </c:v>
                </c:pt>
                <c:pt idx="1122">
                  <c:v>Apr-13</c:v>
                </c:pt>
                <c:pt idx="1123">
                  <c:v>Apr-13</c:v>
                </c:pt>
                <c:pt idx="1124">
                  <c:v>Apr-13</c:v>
                </c:pt>
                <c:pt idx="1125">
                  <c:v>Apr-13</c:v>
                </c:pt>
                <c:pt idx="1126">
                  <c:v>Apr-13</c:v>
                </c:pt>
                <c:pt idx="1127">
                  <c:v>Apr-13</c:v>
                </c:pt>
                <c:pt idx="1128">
                  <c:v>Apr-13</c:v>
                </c:pt>
                <c:pt idx="1129">
                  <c:v>Apr-13</c:v>
                </c:pt>
                <c:pt idx="1130">
                  <c:v>Apr-13</c:v>
                </c:pt>
                <c:pt idx="1131">
                  <c:v>Apr-13</c:v>
                </c:pt>
                <c:pt idx="1132">
                  <c:v>Apr-13</c:v>
                </c:pt>
                <c:pt idx="1133">
                  <c:v>Apr-13</c:v>
                </c:pt>
                <c:pt idx="1134">
                  <c:v>Apr-13</c:v>
                </c:pt>
                <c:pt idx="1135">
                  <c:v>Apr-13</c:v>
                </c:pt>
                <c:pt idx="1136">
                  <c:v>Apr-13</c:v>
                </c:pt>
                <c:pt idx="1137">
                  <c:v>Apr-13</c:v>
                </c:pt>
                <c:pt idx="1138">
                  <c:v>Apr-13</c:v>
                </c:pt>
                <c:pt idx="1139">
                  <c:v>Apr-13</c:v>
                </c:pt>
                <c:pt idx="1140">
                  <c:v>Apr-13</c:v>
                </c:pt>
                <c:pt idx="1141">
                  <c:v>Apr-13</c:v>
                </c:pt>
                <c:pt idx="1142">
                  <c:v>Apr-13</c:v>
                </c:pt>
                <c:pt idx="1143">
                  <c:v>May-13 </c:v>
                </c:pt>
                <c:pt idx="1144">
                  <c:v>May-13 </c:v>
                </c:pt>
                <c:pt idx="1145">
                  <c:v>May-13 </c:v>
                </c:pt>
                <c:pt idx="1146">
                  <c:v>May-13 </c:v>
                </c:pt>
                <c:pt idx="1147">
                  <c:v>May-13 </c:v>
                </c:pt>
                <c:pt idx="1148">
                  <c:v>May-13 </c:v>
                </c:pt>
                <c:pt idx="1149">
                  <c:v>May-13 </c:v>
                </c:pt>
                <c:pt idx="1150">
                  <c:v>May-13 </c:v>
                </c:pt>
                <c:pt idx="1151">
                  <c:v>May-13 </c:v>
                </c:pt>
                <c:pt idx="1152">
                  <c:v>May-13 </c:v>
                </c:pt>
                <c:pt idx="1153">
                  <c:v>May-13 </c:v>
                </c:pt>
                <c:pt idx="1154">
                  <c:v>May-13 </c:v>
                </c:pt>
                <c:pt idx="1155">
                  <c:v>May-13 </c:v>
                </c:pt>
                <c:pt idx="1156">
                  <c:v>May-13 </c:v>
                </c:pt>
                <c:pt idx="1157">
                  <c:v>May-13 </c:v>
                </c:pt>
                <c:pt idx="1158">
                  <c:v>May-13 </c:v>
                </c:pt>
                <c:pt idx="1159">
                  <c:v>May-13 </c:v>
                </c:pt>
                <c:pt idx="1160">
                  <c:v>May-13 </c:v>
                </c:pt>
                <c:pt idx="1161">
                  <c:v>May-13 </c:v>
                </c:pt>
                <c:pt idx="1162">
                  <c:v>May-13 </c:v>
                </c:pt>
                <c:pt idx="1163">
                  <c:v>May-13 </c:v>
                </c:pt>
                <c:pt idx="1164">
                  <c:v>May-13 </c:v>
                </c:pt>
                <c:pt idx="1165">
                  <c:v>May-13 </c:v>
                </c:pt>
                <c:pt idx="1166">
                  <c:v>Jun-13 </c:v>
                </c:pt>
                <c:pt idx="1167">
                  <c:v>Jun-13 </c:v>
                </c:pt>
                <c:pt idx="1168">
                  <c:v>Jun-13 </c:v>
                </c:pt>
                <c:pt idx="1169">
                  <c:v>Jun-13 </c:v>
                </c:pt>
                <c:pt idx="1170">
                  <c:v>Jun-13 </c:v>
                </c:pt>
                <c:pt idx="1171">
                  <c:v>Jun-13 </c:v>
                </c:pt>
                <c:pt idx="1172">
                  <c:v>Jun-13 </c:v>
                </c:pt>
                <c:pt idx="1173">
                  <c:v>Jun-13 </c:v>
                </c:pt>
                <c:pt idx="1174">
                  <c:v>Jun-13 </c:v>
                </c:pt>
                <c:pt idx="1175">
                  <c:v>Jun-13 </c:v>
                </c:pt>
                <c:pt idx="1176">
                  <c:v>Jun-13 </c:v>
                </c:pt>
                <c:pt idx="1177">
                  <c:v>Jun-13 </c:v>
                </c:pt>
                <c:pt idx="1178">
                  <c:v>Jun-13 </c:v>
                </c:pt>
                <c:pt idx="1179">
                  <c:v>Jun-13 </c:v>
                </c:pt>
                <c:pt idx="1180">
                  <c:v>Jun-13 </c:v>
                </c:pt>
                <c:pt idx="1181">
                  <c:v>Jun-13 </c:v>
                </c:pt>
                <c:pt idx="1182">
                  <c:v>Jun-13 </c:v>
                </c:pt>
                <c:pt idx="1183">
                  <c:v>Jun-13 </c:v>
                </c:pt>
                <c:pt idx="1184">
                  <c:v>Jun-13 </c:v>
                </c:pt>
                <c:pt idx="1185">
                  <c:v>Jun-13 </c:v>
                </c:pt>
                <c:pt idx="1186">
                  <c:v>Jul-13</c:v>
                </c:pt>
                <c:pt idx="1187">
                  <c:v>Jul-13</c:v>
                </c:pt>
                <c:pt idx="1188">
                  <c:v>Jul-13</c:v>
                </c:pt>
                <c:pt idx="1189">
                  <c:v>Jul-13</c:v>
                </c:pt>
                <c:pt idx="1190">
                  <c:v>Jul-13</c:v>
                </c:pt>
                <c:pt idx="1191">
                  <c:v>Jul-13</c:v>
                </c:pt>
                <c:pt idx="1192">
                  <c:v>Jul-13</c:v>
                </c:pt>
                <c:pt idx="1193">
                  <c:v>Jul-13</c:v>
                </c:pt>
                <c:pt idx="1194">
                  <c:v>Jul-13</c:v>
                </c:pt>
                <c:pt idx="1195">
                  <c:v>Jul-13</c:v>
                </c:pt>
                <c:pt idx="1196">
                  <c:v>Jul-13</c:v>
                </c:pt>
                <c:pt idx="1197">
                  <c:v>Jul-13</c:v>
                </c:pt>
                <c:pt idx="1198">
                  <c:v>Jul-13</c:v>
                </c:pt>
                <c:pt idx="1199">
                  <c:v>Jul-13</c:v>
                </c:pt>
                <c:pt idx="1200">
                  <c:v>Jul-13</c:v>
                </c:pt>
                <c:pt idx="1201">
                  <c:v>Jul-13</c:v>
                </c:pt>
                <c:pt idx="1202">
                  <c:v>Jul-13</c:v>
                </c:pt>
                <c:pt idx="1203">
                  <c:v>Jul-13</c:v>
                </c:pt>
                <c:pt idx="1204">
                  <c:v>Jul-13</c:v>
                </c:pt>
                <c:pt idx="1205">
                  <c:v>Jul-13</c:v>
                </c:pt>
                <c:pt idx="1206">
                  <c:v>Jul-13</c:v>
                </c:pt>
                <c:pt idx="1207">
                  <c:v>Jul-13</c:v>
                </c:pt>
                <c:pt idx="1208">
                  <c:v>Jul-13</c:v>
                </c:pt>
                <c:pt idx="1209">
                  <c:v>Aug-13 </c:v>
                </c:pt>
                <c:pt idx="1210">
                  <c:v>Aug-13 </c:v>
                </c:pt>
                <c:pt idx="1211">
                  <c:v>Aug-13 </c:v>
                </c:pt>
                <c:pt idx="1212">
                  <c:v>Aug-13 </c:v>
                </c:pt>
                <c:pt idx="1213">
                  <c:v>Aug-13 </c:v>
                </c:pt>
                <c:pt idx="1214">
                  <c:v>Aug-13 </c:v>
                </c:pt>
                <c:pt idx="1215">
                  <c:v>Aug-13 </c:v>
                </c:pt>
                <c:pt idx="1216">
                  <c:v>Aug-13 </c:v>
                </c:pt>
                <c:pt idx="1217">
                  <c:v>Aug-13 </c:v>
                </c:pt>
                <c:pt idx="1218">
                  <c:v>Aug-13 </c:v>
                </c:pt>
                <c:pt idx="1219">
                  <c:v>Aug-13 </c:v>
                </c:pt>
                <c:pt idx="1220">
                  <c:v>Aug-13 </c:v>
                </c:pt>
                <c:pt idx="1221">
                  <c:v>Aug-13 </c:v>
                </c:pt>
                <c:pt idx="1222">
                  <c:v>Aug-13 </c:v>
                </c:pt>
                <c:pt idx="1223">
                  <c:v>Aug-13 </c:v>
                </c:pt>
                <c:pt idx="1224">
                  <c:v>Aug-13 </c:v>
                </c:pt>
                <c:pt idx="1225">
                  <c:v>Aug-13 </c:v>
                </c:pt>
                <c:pt idx="1226">
                  <c:v>Aug-13 </c:v>
                </c:pt>
                <c:pt idx="1227">
                  <c:v>Aug-13 </c:v>
                </c:pt>
                <c:pt idx="1228">
                  <c:v>Aug-13 </c:v>
                </c:pt>
                <c:pt idx="1229">
                  <c:v>Aug-13 </c:v>
                </c:pt>
                <c:pt idx="1230">
                  <c:v>Aug-13 </c:v>
                </c:pt>
                <c:pt idx="1231">
                  <c:v>Sep-13</c:v>
                </c:pt>
                <c:pt idx="1232">
                  <c:v>Sep-13</c:v>
                </c:pt>
                <c:pt idx="1233">
                  <c:v>Sep-13</c:v>
                </c:pt>
                <c:pt idx="1234">
                  <c:v>Sep-13</c:v>
                </c:pt>
                <c:pt idx="1235">
                  <c:v>Sep-13</c:v>
                </c:pt>
                <c:pt idx="1236">
                  <c:v>Sep-13</c:v>
                </c:pt>
                <c:pt idx="1237">
                  <c:v>Sep-13</c:v>
                </c:pt>
                <c:pt idx="1238">
                  <c:v>Sep-13</c:v>
                </c:pt>
                <c:pt idx="1239">
                  <c:v>Sep-13</c:v>
                </c:pt>
                <c:pt idx="1240">
                  <c:v>Sep-13</c:v>
                </c:pt>
                <c:pt idx="1241">
                  <c:v>Sep-13</c:v>
                </c:pt>
                <c:pt idx="1242">
                  <c:v>Sep-13</c:v>
                </c:pt>
                <c:pt idx="1243">
                  <c:v>Sep-13</c:v>
                </c:pt>
                <c:pt idx="1244">
                  <c:v>Sep-13</c:v>
                </c:pt>
                <c:pt idx="1245">
                  <c:v>Sep-13</c:v>
                </c:pt>
              </c:strCache>
            </c:strRef>
          </c:cat>
          <c:val>
            <c:numRef>
              <c:f>Sheet1!$B$2:$B$1247</c:f>
              <c:numCache>
                <c:formatCode>General</c:formatCode>
                <c:ptCount val="1246"/>
                <c:pt idx="0">
                  <c:v>100</c:v>
                </c:pt>
                <c:pt idx="1">
                  <c:v>97.993822420000186</c:v>
                </c:pt>
                <c:pt idx="2">
                  <c:v>96.583120750000006</c:v>
                </c:pt>
                <c:pt idx="3">
                  <c:v>93.897716450000004</c:v>
                </c:pt>
                <c:pt idx="4">
                  <c:v>94.58309002</c:v>
                </c:pt>
                <c:pt idx="5">
                  <c:v>94.231951319999979</c:v>
                </c:pt>
                <c:pt idx="6">
                  <c:v>95.307649749999996</c:v>
                </c:pt>
                <c:pt idx="7">
                  <c:v>96.663798139999599</c:v>
                </c:pt>
                <c:pt idx="8">
                  <c:v>97.255432279999695</c:v>
                </c:pt>
                <c:pt idx="9">
                  <c:v>98.155177179999583</c:v>
                </c:pt>
                <c:pt idx="10">
                  <c:v>95.760979809999981</c:v>
                </c:pt>
                <c:pt idx="11">
                  <c:v>94.974183240000201</c:v>
                </c:pt>
                <c:pt idx="12">
                  <c:v>95.365276449999982</c:v>
                </c:pt>
                <c:pt idx="13">
                  <c:v>95.74868610999998</c:v>
                </c:pt>
                <c:pt idx="14">
                  <c:v>96.549313090000027</c:v>
                </c:pt>
                <c:pt idx="15">
                  <c:v>97.863201889999999</c:v>
                </c:pt>
                <c:pt idx="16">
                  <c:v>102.86673629999983</c:v>
                </c:pt>
                <c:pt idx="17">
                  <c:v>105.38463900000002</c:v>
                </c:pt>
                <c:pt idx="18">
                  <c:v>106.0392784</c:v>
                </c:pt>
                <c:pt idx="19">
                  <c:v>104.35888370000001</c:v>
                </c:pt>
                <c:pt idx="20">
                  <c:v>106.93133970000002</c:v>
                </c:pt>
                <c:pt idx="21">
                  <c:v>108.37892249999985</c:v>
                </c:pt>
                <c:pt idx="22">
                  <c:v>114.27067649999998</c:v>
                </c:pt>
                <c:pt idx="23">
                  <c:v>110.94523160000017</c:v>
                </c:pt>
                <c:pt idx="24">
                  <c:v>110.24525920000031</c:v>
                </c:pt>
                <c:pt idx="25">
                  <c:v>108.10999779999995</c:v>
                </c:pt>
                <c:pt idx="26">
                  <c:v>107.5129852</c:v>
                </c:pt>
                <c:pt idx="27">
                  <c:v>107.61056640000002</c:v>
                </c:pt>
                <c:pt idx="28">
                  <c:v>109.2517749</c:v>
                </c:pt>
                <c:pt idx="29">
                  <c:v>110.9137290000002</c:v>
                </c:pt>
                <c:pt idx="30">
                  <c:v>110.7400805</c:v>
                </c:pt>
                <c:pt idx="31">
                  <c:v>112.6256262</c:v>
                </c:pt>
                <c:pt idx="32">
                  <c:v>116.8546578</c:v>
                </c:pt>
                <c:pt idx="33">
                  <c:v>115.98026860000017</c:v>
                </c:pt>
                <c:pt idx="34">
                  <c:v>115.51925500000017</c:v>
                </c:pt>
                <c:pt idx="35">
                  <c:v>112.992132</c:v>
                </c:pt>
                <c:pt idx="36">
                  <c:v>112.49961580000017</c:v>
                </c:pt>
                <c:pt idx="37">
                  <c:v>110.17457049999985</c:v>
                </c:pt>
                <c:pt idx="38">
                  <c:v>107.86796570000017</c:v>
                </c:pt>
                <c:pt idx="39">
                  <c:v>107.38697479999998</c:v>
                </c:pt>
                <c:pt idx="40">
                  <c:v>104.03156410000012</c:v>
                </c:pt>
                <c:pt idx="41">
                  <c:v>106.13301779999998</c:v>
                </c:pt>
                <c:pt idx="42">
                  <c:v>105.72117900000002</c:v>
                </c:pt>
                <c:pt idx="43">
                  <c:v>103.7941421</c:v>
                </c:pt>
                <c:pt idx="44">
                  <c:v>103.4806528</c:v>
                </c:pt>
                <c:pt idx="45">
                  <c:v>104.42573069999995</c:v>
                </c:pt>
                <c:pt idx="46">
                  <c:v>102.8928604</c:v>
                </c:pt>
                <c:pt idx="47">
                  <c:v>103.24707260000002</c:v>
                </c:pt>
                <c:pt idx="48">
                  <c:v>103.67274179999966</c:v>
                </c:pt>
                <c:pt idx="49">
                  <c:v>106.33048530000001</c:v>
                </c:pt>
                <c:pt idx="50">
                  <c:v>105.07345479999998</c:v>
                </c:pt>
                <c:pt idx="51">
                  <c:v>104.30509879999983</c:v>
                </c:pt>
                <c:pt idx="52">
                  <c:v>101.81332020000002</c:v>
                </c:pt>
                <c:pt idx="53">
                  <c:v>101.99542060000019</c:v>
                </c:pt>
                <c:pt idx="54">
                  <c:v>102.22746410000002</c:v>
                </c:pt>
                <c:pt idx="55">
                  <c:v>102.55017359999998</c:v>
                </c:pt>
                <c:pt idx="56">
                  <c:v>104.2113594000003</c:v>
                </c:pt>
                <c:pt idx="57">
                  <c:v>103.34926390000032</c:v>
                </c:pt>
                <c:pt idx="58">
                  <c:v>103.31622460000034</c:v>
                </c:pt>
                <c:pt idx="59">
                  <c:v>103.12720899999998</c:v>
                </c:pt>
                <c:pt idx="60">
                  <c:v>101.9224268</c:v>
                </c:pt>
                <c:pt idx="61">
                  <c:v>103.74266220000017</c:v>
                </c:pt>
                <c:pt idx="62">
                  <c:v>102.64468140000002</c:v>
                </c:pt>
                <c:pt idx="63">
                  <c:v>100.21667640000017</c:v>
                </c:pt>
                <c:pt idx="64">
                  <c:v>100.11525340000017</c:v>
                </c:pt>
                <c:pt idx="65">
                  <c:v>99.822509760000003</c:v>
                </c:pt>
                <c:pt idx="66">
                  <c:v>97.603497559999695</c:v>
                </c:pt>
                <c:pt idx="67">
                  <c:v>98.302701539999717</c:v>
                </c:pt>
                <c:pt idx="68">
                  <c:v>98.540891909999999</c:v>
                </c:pt>
                <c:pt idx="69">
                  <c:v>98.479423429999997</c:v>
                </c:pt>
                <c:pt idx="70">
                  <c:v>98.124442939999696</c:v>
                </c:pt>
                <c:pt idx="71">
                  <c:v>96.773673049999999</c:v>
                </c:pt>
                <c:pt idx="72">
                  <c:v>93.409042009999979</c:v>
                </c:pt>
                <c:pt idx="73">
                  <c:v>93.600362660000002</c:v>
                </c:pt>
                <c:pt idx="74">
                  <c:v>94.366413620000216</c:v>
                </c:pt>
                <c:pt idx="75">
                  <c:v>93.072502069999828</c:v>
                </c:pt>
                <c:pt idx="76">
                  <c:v>92.915757450000001</c:v>
                </c:pt>
                <c:pt idx="77">
                  <c:v>91.256108429999998</c:v>
                </c:pt>
                <c:pt idx="78">
                  <c:v>93.305313949999999</c:v>
                </c:pt>
                <c:pt idx="79">
                  <c:v>93.700248950000002</c:v>
                </c:pt>
                <c:pt idx="80">
                  <c:v>93.541199250000204</c:v>
                </c:pt>
                <c:pt idx="81">
                  <c:v>95.58502627999998</c:v>
                </c:pt>
                <c:pt idx="82">
                  <c:v>96.265789720000001</c:v>
                </c:pt>
                <c:pt idx="83">
                  <c:v>95.273842089999988</c:v>
                </c:pt>
                <c:pt idx="84">
                  <c:v>96.066017149999979</c:v>
                </c:pt>
                <c:pt idx="85">
                  <c:v>98.206657039999982</c:v>
                </c:pt>
                <c:pt idx="86">
                  <c:v>98.869748289999919</c:v>
                </c:pt>
                <c:pt idx="87">
                  <c:v>103.09032790000002</c:v>
                </c:pt>
                <c:pt idx="88">
                  <c:v>104.3765559</c:v>
                </c:pt>
                <c:pt idx="89">
                  <c:v>104.007745</c:v>
                </c:pt>
                <c:pt idx="90">
                  <c:v>106.62630239999967</c:v>
                </c:pt>
                <c:pt idx="91">
                  <c:v>106.81915970000017</c:v>
                </c:pt>
                <c:pt idx="92">
                  <c:v>102.17675259999967</c:v>
                </c:pt>
                <c:pt idx="93">
                  <c:v>103.7203799</c:v>
                </c:pt>
                <c:pt idx="94">
                  <c:v>104.6915819</c:v>
                </c:pt>
                <c:pt idx="95">
                  <c:v>109.94406370000034</c:v>
                </c:pt>
                <c:pt idx="96">
                  <c:v>110.7731198</c:v>
                </c:pt>
                <c:pt idx="97">
                  <c:v>113.1511817</c:v>
                </c:pt>
                <c:pt idx="98">
                  <c:v>110.2514061</c:v>
                </c:pt>
                <c:pt idx="99">
                  <c:v>108.7323662</c:v>
                </c:pt>
                <c:pt idx="100">
                  <c:v>111.17727509999995</c:v>
                </c:pt>
                <c:pt idx="101">
                  <c:v>116.40055940000028</c:v>
                </c:pt>
                <c:pt idx="102">
                  <c:v>116.95223900000002</c:v>
                </c:pt>
                <c:pt idx="103">
                  <c:v>118.35909890000001</c:v>
                </c:pt>
                <c:pt idx="104">
                  <c:v>118.8792759</c:v>
                </c:pt>
                <c:pt idx="105">
                  <c:v>118.2791898</c:v>
                </c:pt>
                <c:pt idx="106">
                  <c:v>117.3725297</c:v>
                </c:pt>
                <c:pt idx="107">
                  <c:v>116.27454899999998</c:v>
                </c:pt>
                <c:pt idx="108">
                  <c:v>117.0744076</c:v>
                </c:pt>
                <c:pt idx="109">
                  <c:v>118.4828042</c:v>
                </c:pt>
                <c:pt idx="110">
                  <c:v>116.1662108</c:v>
                </c:pt>
                <c:pt idx="111">
                  <c:v>116.466638</c:v>
                </c:pt>
                <c:pt idx="112">
                  <c:v>119.07828009999983</c:v>
                </c:pt>
                <c:pt idx="113">
                  <c:v>123.6261794</c:v>
                </c:pt>
                <c:pt idx="114">
                  <c:v>123.82902540000002</c:v>
                </c:pt>
                <c:pt idx="115">
                  <c:v>129.96665329999965</c:v>
                </c:pt>
                <c:pt idx="116">
                  <c:v>131.10458859999972</c:v>
                </c:pt>
                <c:pt idx="117">
                  <c:v>135.23911239999998</c:v>
                </c:pt>
                <c:pt idx="118">
                  <c:v>139.89842330000062</c:v>
                </c:pt>
                <c:pt idx="119">
                  <c:v>140.48083720000034</c:v>
                </c:pt>
                <c:pt idx="120">
                  <c:v>138.5253711</c:v>
                </c:pt>
                <c:pt idx="121">
                  <c:v>140.24572029999962</c:v>
                </c:pt>
                <c:pt idx="122">
                  <c:v>140.68983</c:v>
                </c:pt>
                <c:pt idx="123">
                  <c:v>136.13655219999953</c:v>
                </c:pt>
                <c:pt idx="124">
                  <c:v>137.03091860000001</c:v>
                </c:pt>
                <c:pt idx="125">
                  <c:v>138.31637830000034</c:v>
                </c:pt>
                <c:pt idx="126">
                  <c:v>143.39674830000047</c:v>
                </c:pt>
                <c:pt idx="127">
                  <c:v>144.50241260000001</c:v>
                </c:pt>
                <c:pt idx="128">
                  <c:v>141.52887480000001</c:v>
                </c:pt>
                <c:pt idx="129">
                  <c:v>144.04447239999999</c:v>
                </c:pt>
                <c:pt idx="130">
                  <c:v>144.37793900000034</c:v>
                </c:pt>
                <c:pt idx="131">
                  <c:v>142.54079969999998</c:v>
                </c:pt>
                <c:pt idx="132">
                  <c:v>145.64034790000034</c:v>
                </c:pt>
                <c:pt idx="133">
                  <c:v>144.87967539999966</c:v>
                </c:pt>
                <c:pt idx="134">
                  <c:v>147.24698039999998</c:v>
                </c:pt>
                <c:pt idx="135">
                  <c:v>152.68540429999999</c:v>
                </c:pt>
                <c:pt idx="136">
                  <c:v>151.81255189999999</c:v>
                </c:pt>
                <c:pt idx="137">
                  <c:v>152.9958201</c:v>
                </c:pt>
                <c:pt idx="138">
                  <c:v>153.57977069999953</c:v>
                </c:pt>
                <c:pt idx="139">
                  <c:v>156.20754830000001</c:v>
                </c:pt>
                <c:pt idx="140">
                  <c:v>153.26781819999999</c:v>
                </c:pt>
                <c:pt idx="141">
                  <c:v>154.83372779999999</c:v>
                </c:pt>
                <c:pt idx="142">
                  <c:v>157.47840920000004</c:v>
                </c:pt>
                <c:pt idx="143">
                  <c:v>158.2452285</c:v>
                </c:pt>
                <c:pt idx="144">
                  <c:v>157.57368529999931</c:v>
                </c:pt>
                <c:pt idx="145">
                  <c:v>154.89212280000046</c:v>
                </c:pt>
                <c:pt idx="146">
                  <c:v>151.40224970000034</c:v>
                </c:pt>
                <c:pt idx="147">
                  <c:v>149.32845680000068</c:v>
                </c:pt>
                <c:pt idx="148">
                  <c:v>146.3595292</c:v>
                </c:pt>
                <c:pt idx="149">
                  <c:v>148.8728217</c:v>
                </c:pt>
                <c:pt idx="150">
                  <c:v>147.01801029999999</c:v>
                </c:pt>
                <c:pt idx="151">
                  <c:v>144.68067119999998</c:v>
                </c:pt>
                <c:pt idx="152">
                  <c:v>148.19052159999998</c:v>
                </c:pt>
                <c:pt idx="153">
                  <c:v>150.19977259999962</c:v>
                </c:pt>
                <c:pt idx="154">
                  <c:v>150.3250146</c:v>
                </c:pt>
                <c:pt idx="155">
                  <c:v>150.66539630000034</c:v>
                </c:pt>
                <c:pt idx="156">
                  <c:v>151.54516399999972</c:v>
                </c:pt>
                <c:pt idx="157">
                  <c:v>153.0642038</c:v>
                </c:pt>
                <c:pt idx="158">
                  <c:v>151.4060915</c:v>
                </c:pt>
                <c:pt idx="159">
                  <c:v>150.40876539999999</c:v>
                </c:pt>
                <c:pt idx="160">
                  <c:v>148.60466549999953</c:v>
                </c:pt>
                <c:pt idx="161">
                  <c:v>149.0318714</c:v>
                </c:pt>
                <c:pt idx="162">
                  <c:v>146.9611519</c:v>
                </c:pt>
                <c:pt idx="163">
                  <c:v>148.5493438</c:v>
                </c:pt>
                <c:pt idx="164">
                  <c:v>147.30614380000034</c:v>
                </c:pt>
                <c:pt idx="165">
                  <c:v>145.35605620000001</c:v>
                </c:pt>
                <c:pt idx="166">
                  <c:v>148.23815959999999</c:v>
                </c:pt>
                <c:pt idx="167">
                  <c:v>152.92743650000068</c:v>
                </c:pt>
                <c:pt idx="168">
                  <c:v>152.98967329999965</c:v>
                </c:pt>
                <c:pt idx="169">
                  <c:v>155.16719430000001</c:v>
                </c:pt>
                <c:pt idx="170">
                  <c:v>158.1084611</c:v>
                </c:pt>
                <c:pt idx="171">
                  <c:v>158.39813140000047</c:v>
                </c:pt>
                <c:pt idx="172">
                  <c:v>157.2601961</c:v>
                </c:pt>
                <c:pt idx="173">
                  <c:v>160.3743431</c:v>
                </c:pt>
                <c:pt idx="174">
                  <c:v>162.03091860000001</c:v>
                </c:pt>
                <c:pt idx="175">
                  <c:v>163.6828841</c:v>
                </c:pt>
                <c:pt idx="176">
                  <c:v>166.39671760000004</c:v>
                </c:pt>
                <c:pt idx="177">
                  <c:v>164.09088119999998</c:v>
                </c:pt>
                <c:pt idx="178">
                  <c:v>166.67486249999965</c:v>
                </c:pt>
                <c:pt idx="179">
                  <c:v>168.90540000000001</c:v>
                </c:pt>
                <c:pt idx="180">
                  <c:v>172.26311579999955</c:v>
                </c:pt>
                <c:pt idx="181">
                  <c:v>171.97267729999999</c:v>
                </c:pt>
                <c:pt idx="182">
                  <c:v>170.42751329999999</c:v>
                </c:pt>
                <c:pt idx="183">
                  <c:v>171.58004730000056</c:v>
                </c:pt>
                <c:pt idx="184">
                  <c:v>169.43402900000001</c:v>
                </c:pt>
                <c:pt idx="185">
                  <c:v>169.77978919999953</c:v>
                </c:pt>
                <c:pt idx="186">
                  <c:v>171.05141840000056</c:v>
                </c:pt>
                <c:pt idx="187">
                  <c:v>169.05907119999998</c:v>
                </c:pt>
                <c:pt idx="188">
                  <c:v>172.0264622</c:v>
                </c:pt>
                <c:pt idx="189">
                  <c:v>172.16553459999992</c:v>
                </c:pt>
                <c:pt idx="190">
                  <c:v>167.2372991</c:v>
                </c:pt>
                <c:pt idx="191">
                  <c:v>166.79242090000034</c:v>
                </c:pt>
                <c:pt idx="192">
                  <c:v>164.58186069999999</c:v>
                </c:pt>
                <c:pt idx="193">
                  <c:v>167.3279651</c:v>
                </c:pt>
                <c:pt idx="194">
                  <c:v>167.88655990000001</c:v>
                </c:pt>
                <c:pt idx="195">
                  <c:v>170.41060949999999</c:v>
                </c:pt>
                <c:pt idx="196">
                  <c:v>170.6011618</c:v>
                </c:pt>
                <c:pt idx="197">
                  <c:v>170.7102683</c:v>
                </c:pt>
                <c:pt idx="198">
                  <c:v>170.49205519999998</c:v>
                </c:pt>
                <c:pt idx="199">
                  <c:v>171.01530569999966</c:v>
                </c:pt>
                <c:pt idx="200">
                  <c:v>168.14703259999999</c:v>
                </c:pt>
                <c:pt idx="201">
                  <c:v>168.44438640000001</c:v>
                </c:pt>
                <c:pt idx="202">
                  <c:v>167.52389589999999</c:v>
                </c:pt>
                <c:pt idx="203">
                  <c:v>169.0752067</c:v>
                </c:pt>
                <c:pt idx="204">
                  <c:v>170.24618129999965</c:v>
                </c:pt>
                <c:pt idx="205">
                  <c:v>172.41371359999965</c:v>
                </c:pt>
                <c:pt idx="206">
                  <c:v>174.96696069999999</c:v>
                </c:pt>
                <c:pt idx="207">
                  <c:v>175.0960445</c:v>
                </c:pt>
                <c:pt idx="208">
                  <c:v>175.86516890000001</c:v>
                </c:pt>
                <c:pt idx="209">
                  <c:v>176.2908381</c:v>
                </c:pt>
                <c:pt idx="210">
                  <c:v>173.58545660000001</c:v>
                </c:pt>
                <c:pt idx="211">
                  <c:v>174.93622640000046</c:v>
                </c:pt>
                <c:pt idx="212">
                  <c:v>177.85751610000034</c:v>
                </c:pt>
                <c:pt idx="213">
                  <c:v>180.97089469999995</c:v>
                </c:pt>
                <c:pt idx="214">
                  <c:v>180.03350029999959</c:v>
                </c:pt>
                <c:pt idx="215">
                  <c:v>179.8590835</c:v>
                </c:pt>
                <c:pt idx="216">
                  <c:v>181.48031470000001</c:v>
                </c:pt>
                <c:pt idx="217">
                  <c:v>181.63552259999992</c:v>
                </c:pt>
                <c:pt idx="218">
                  <c:v>181.17988749999998</c:v>
                </c:pt>
                <c:pt idx="219">
                  <c:v>180.33546419999999</c:v>
                </c:pt>
                <c:pt idx="220">
                  <c:v>177.2843225</c:v>
                </c:pt>
                <c:pt idx="221">
                  <c:v>178.49064140000004</c:v>
                </c:pt>
                <c:pt idx="222">
                  <c:v>180.28782620000001</c:v>
                </c:pt>
                <c:pt idx="223">
                  <c:v>179.53944740000034</c:v>
                </c:pt>
                <c:pt idx="224">
                  <c:v>178.1786889</c:v>
                </c:pt>
                <c:pt idx="225">
                  <c:v>179.30125700000033</c:v>
                </c:pt>
                <c:pt idx="226">
                  <c:v>182.2379138</c:v>
                </c:pt>
                <c:pt idx="227">
                  <c:v>183.60866089999999</c:v>
                </c:pt>
                <c:pt idx="228">
                  <c:v>185.30519100000001</c:v>
                </c:pt>
                <c:pt idx="229">
                  <c:v>185.1615084</c:v>
                </c:pt>
                <c:pt idx="230">
                  <c:v>185.76927809999998</c:v>
                </c:pt>
                <c:pt idx="231">
                  <c:v>185.88529980000047</c:v>
                </c:pt>
                <c:pt idx="232">
                  <c:v>188.63217259999999</c:v>
                </c:pt>
                <c:pt idx="233">
                  <c:v>187.32289390000034</c:v>
                </c:pt>
                <c:pt idx="234">
                  <c:v>187.765467</c:v>
                </c:pt>
                <c:pt idx="235">
                  <c:v>189.22841690000047</c:v>
                </c:pt>
                <c:pt idx="236">
                  <c:v>188.73743740000043</c:v>
                </c:pt>
                <c:pt idx="237">
                  <c:v>187.3989612</c:v>
                </c:pt>
                <c:pt idx="238">
                  <c:v>186.09659769999999</c:v>
                </c:pt>
                <c:pt idx="239">
                  <c:v>187.87303690000007</c:v>
                </c:pt>
                <c:pt idx="240">
                  <c:v>187.54110700000001</c:v>
                </c:pt>
                <c:pt idx="241">
                  <c:v>185.6002397</c:v>
                </c:pt>
                <c:pt idx="242">
                  <c:v>181.83375849999999</c:v>
                </c:pt>
                <c:pt idx="243">
                  <c:v>180.47914680000034</c:v>
                </c:pt>
                <c:pt idx="244">
                  <c:v>181.3389372000004</c:v>
                </c:pt>
                <c:pt idx="245">
                  <c:v>180.9501491000004</c:v>
                </c:pt>
                <c:pt idx="246">
                  <c:v>179.31355069999952</c:v>
                </c:pt>
                <c:pt idx="247">
                  <c:v>181.16528869999999</c:v>
                </c:pt>
                <c:pt idx="248">
                  <c:v>180.6866029</c:v>
                </c:pt>
                <c:pt idx="249">
                  <c:v>183.1622461000004</c:v>
                </c:pt>
                <c:pt idx="250">
                  <c:v>186.04281280000001</c:v>
                </c:pt>
                <c:pt idx="251">
                  <c:v>186.34170330000001</c:v>
                </c:pt>
                <c:pt idx="252">
                  <c:v>188.48541660000046</c:v>
                </c:pt>
                <c:pt idx="253">
                  <c:v>187.74856319999952</c:v>
                </c:pt>
                <c:pt idx="254">
                  <c:v>188.26413009999999</c:v>
                </c:pt>
                <c:pt idx="255">
                  <c:v>192.25189779999999</c:v>
                </c:pt>
                <c:pt idx="256">
                  <c:v>191.7094385</c:v>
                </c:pt>
                <c:pt idx="257">
                  <c:v>191.3367858</c:v>
                </c:pt>
                <c:pt idx="258">
                  <c:v>189.77548640000001</c:v>
                </c:pt>
                <c:pt idx="259">
                  <c:v>190.14890740000001</c:v>
                </c:pt>
                <c:pt idx="260">
                  <c:v>191.88155019999999</c:v>
                </c:pt>
                <c:pt idx="261">
                  <c:v>189.85770050000033</c:v>
                </c:pt>
                <c:pt idx="262">
                  <c:v>192.1258875</c:v>
                </c:pt>
                <c:pt idx="263">
                  <c:v>189.45815529999999</c:v>
                </c:pt>
                <c:pt idx="264">
                  <c:v>188.53843320000001</c:v>
                </c:pt>
                <c:pt idx="265">
                  <c:v>187.96293450000007</c:v>
                </c:pt>
                <c:pt idx="266">
                  <c:v>191.70405999999966</c:v>
                </c:pt>
                <c:pt idx="267">
                  <c:v>192.34025879999999</c:v>
                </c:pt>
                <c:pt idx="268">
                  <c:v>193.60881459999999</c:v>
                </c:pt>
                <c:pt idx="269">
                  <c:v>192.72520519999998</c:v>
                </c:pt>
                <c:pt idx="270">
                  <c:v>191.75861330000001</c:v>
                </c:pt>
                <c:pt idx="271">
                  <c:v>190.9902572</c:v>
                </c:pt>
                <c:pt idx="272">
                  <c:v>190.51157139999998</c:v>
                </c:pt>
                <c:pt idx="273">
                  <c:v>190.7174909</c:v>
                </c:pt>
                <c:pt idx="274">
                  <c:v>192.20733319999999</c:v>
                </c:pt>
                <c:pt idx="275">
                  <c:v>192.55155669999999</c:v>
                </c:pt>
                <c:pt idx="276">
                  <c:v>192.3494791</c:v>
                </c:pt>
                <c:pt idx="277">
                  <c:v>193.3160709</c:v>
                </c:pt>
                <c:pt idx="278">
                  <c:v>192.22193200000001</c:v>
                </c:pt>
                <c:pt idx="279">
                  <c:v>191.8154716</c:v>
                </c:pt>
                <c:pt idx="280">
                  <c:v>189.94990319999965</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50000033</c:v>
                </c:pt>
                <c:pt idx="291">
                  <c:v>199.75719950000001</c:v>
                </c:pt>
                <c:pt idx="292">
                  <c:v>200.14445089999998</c:v>
                </c:pt>
                <c:pt idx="293">
                  <c:v>202.64083969999999</c:v>
                </c:pt>
                <c:pt idx="294">
                  <c:v>202.39957589999995</c:v>
                </c:pt>
                <c:pt idx="295">
                  <c:v>200.70150909999998</c:v>
                </c:pt>
                <c:pt idx="296">
                  <c:v>201.8655684</c:v>
                </c:pt>
                <c:pt idx="297">
                  <c:v>201.77413409999966</c:v>
                </c:pt>
                <c:pt idx="298">
                  <c:v>201.98312690000037</c:v>
                </c:pt>
                <c:pt idx="299">
                  <c:v>201.42453209999999</c:v>
                </c:pt>
                <c:pt idx="300">
                  <c:v>199.40913419999998</c:v>
                </c:pt>
                <c:pt idx="301">
                  <c:v>196.6407475</c:v>
                </c:pt>
                <c:pt idx="302">
                  <c:v>194.38178070000001</c:v>
                </c:pt>
                <c:pt idx="303">
                  <c:v>193.45130160000033</c:v>
                </c:pt>
                <c:pt idx="304">
                  <c:v>189.33445</c:v>
                </c:pt>
                <c:pt idx="305">
                  <c:v>187.19688349999998</c:v>
                </c:pt>
                <c:pt idx="306">
                  <c:v>190.23803670000001</c:v>
                </c:pt>
                <c:pt idx="307">
                  <c:v>189.43049450000001</c:v>
                </c:pt>
                <c:pt idx="308">
                  <c:v>188.72898549999999</c:v>
                </c:pt>
                <c:pt idx="309">
                  <c:v>188.18422100000001</c:v>
                </c:pt>
                <c:pt idx="310">
                  <c:v>191.28223250000033</c:v>
                </c:pt>
                <c:pt idx="311">
                  <c:v>188.52152930000034</c:v>
                </c:pt>
                <c:pt idx="312">
                  <c:v>184.36318650000001</c:v>
                </c:pt>
                <c:pt idx="313">
                  <c:v>184.13575309999962</c:v>
                </c:pt>
                <c:pt idx="314">
                  <c:v>185.53723450000001</c:v>
                </c:pt>
                <c:pt idx="315">
                  <c:v>185.63942589999999</c:v>
                </c:pt>
                <c:pt idx="316">
                  <c:v>187.3966561</c:v>
                </c:pt>
                <c:pt idx="317">
                  <c:v>187.54494879999999</c:v>
                </c:pt>
                <c:pt idx="318">
                  <c:v>187.09161879999999</c:v>
                </c:pt>
                <c:pt idx="319">
                  <c:v>188.32790360000001</c:v>
                </c:pt>
                <c:pt idx="320">
                  <c:v>190.71902759999998</c:v>
                </c:pt>
                <c:pt idx="321">
                  <c:v>189.1992194</c:v>
                </c:pt>
                <c:pt idx="322">
                  <c:v>188.71208159999998</c:v>
                </c:pt>
                <c:pt idx="323">
                  <c:v>190.10664779999999</c:v>
                </c:pt>
                <c:pt idx="324">
                  <c:v>190.76436059999995</c:v>
                </c:pt>
                <c:pt idx="325">
                  <c:v>190.67446289999998</c:v>
                </c:pt>
                <c:pt idx="326">
                  <c:v>189.85770050000033</c:v>
                </c:pt>
                <c:pt idx="327">
                  <c:v>190.31333559999999</c:v>
                </c:pt>
                <c:pt idx="328">
                  <c:v>191.634908</c:v>
                </c:pt>
                <c:pt idx="329">
                  <c:v>193.51430680000001</c:v>
                </c:pt>
                <c:pt idx="330">
                  <c:v>194.3356794</c:v>
                </c:pt>
                <c:pt idx="331">
                  <c:v>194.35949840000046</c:v>
                </c:pt>
                <c:pt idx="332">
                  <c:v>196.28192519999999</c:v>
                </c:pt>
                <c:pt idx="333">
                  <c:v>198.9412054</c:v>
                </c:pt>
                <c:pt idx="334">
                  <c:v>198.75295819999999</c:v>
                </c:pt>
                <c:pt idx="335">
                  <c:v>200.28121830000046</c:v>
                </c:pt>
                <c:pt idx="336">
                  <c:v>200.97658049999998</c:v>
                </c:pt>
                <c:pt idx="337">
                  <c:v>201.2447368</c:v>
                </c:pt>
                <c:pt idx="338">
                  <c:v>199.96158219999998</c:v>
                </c:pt>
                <c:pt idx="339">
                  <c:v>201.67424779999999</c:v>
                </c:pt>
                <c:pt idx="340">
                  <c:v>205.70504349999999</c:v>
                </c:pt>
                <c:pt idx="341">
                  <c:v>203.7564926</c:v>
                </c:pt>
                <c:pt idx="342">
                  <c:v>203.39690200000001</c:v>
                </c:pt>
                <c:pt idx="343">
                  <c:v>202.06610940000004</c:v>
                </c:pt>
                <c:pt idx="344">
                  <c:v>205.42843530000056</c:v>
                </c:pt>
                <c:pt idx="345">
                  <c:v>205.43150869999999</c:v>
                </c:pt>
                <c:pt idx="346">
                  <c:v>205.98165169999999</c:v>
                </c:pt>
                <c:pt idx="347">
                  <c:v>206.9182777</c:v>
                </c:pt>
                <c:pt idx="348">
                  <c:v>208.56793800000034</c:v>
                </c:pt>
                <c:pt idx="349">
                  <c:v>209.60291359999999</c:v>
                </c:pt>
                <c:pt idx="350">
                  <c:v>207.9294342</c:v>
                </c:pt>
                <c:pt idx="351">
                  <c:v>212.60488059999992</c:v>
                </c:pt>
                <c:pt idx="352">
                  <c:v>215.8696253</c:v>
                </c:pt>
                <c:pt idx="353">
                  <c:v>216.8677198000004</c:v>
                </c:pt>
                <c:pt idx="354">
                  <c:v>214.18846240000033</c:v>
                </c:pt>
                <c:pt idx="355">
                  <c:v>215.9933307</c:v>
                </c:pt>
                <c:pt idx="356">
                  <c:v>215.86578359999999</c:v>
                </c:pt>
                <c:pt idx="357">
                  <c:v>215.0912807</c:v>
                </c:pt>
                <c:pt idx="358">
                  <c:v>219.5385254</c:v>
                </c:pt>
                <c:pt idx="359">
                  <c:v>220.22543569999999</c:v>
                </c:pt>
                <c:pt idx="360">
                  <c:v>218.85238340000046</c:v>
                </c:pt>
                <c:pt idx="361">
                  <c:v>214.75858249999999</c:v>
                </c:pt>
                <c:pt idx="362">
                  <c:v>219.11362449999959</c:v>
                </c:pt>
                <c:pt idx="363">
                  <c:v>218.48357249999998</c:v>
                </c:pt>
                <c:pt idx="364">
                  <c:v>218.62341330000001</c:v>
                </c:pt>
                <c:pt idx="365">
                  <c:v>218.97147860000001</c:v>
                </c:pt>
                <c:pt idx="366">
                  <c:v>220.68414419999999</c:v>
                </c:pt>
                <c:pt idx="367">
                  <c:v>220.18855459999995</c:v>
                </c:pt>
                <c:pt idx="368">
                  <c:v>215.49466759999999</c:v>
                </c:pt>
                <c:pt idx="369">
                  <c:v>217.70522790000001</c:v>
                </c:pt>
                <c:pt idx="370">
                  <c:v>219.01604330000001</c:v>
                </c:pt>
                <c:pt idx="371">
                  <c:v>217.49930850000001</c:v>
                </c:pt>
                <c:pt idx="372">
                  <c:v>216.92304150000001</c:v>
                </c:pt>
                <c:pt idx="373">
                  <c:v>212.46196640000034</c:v>
                </c:pt>
                <c:pt idx="374">
                  <c:v>209.50994249999999</c:v>
                </c:pt>
                <c:pt idx="375">
                  <c:v>206.41193100000001</c:v>
                </c:pt>
                <c:pt idx="376">
                  <c:v>213.71054489999995</c:v>
                </c:pt>
                <c:pt idx="377">
                  <c:v>211.39395149999999</c:v>
                </c:pt>
                <c:pt idx="378">
                  <c:v>213.32022010000034</c:v>
                </c:pt>
                <c:pt idx="379">
                  <c:v>212.6947783</c:v>
                </c:pt>
                <c:pt idx="380">
                  <c:v>212.30138000000034</c:v>
                </c:pt>
                <c:pt idx="381">
                  <c:v>210.27753019999992</c:v>
                </c:pt>
                <c:pt idx="382">
                  <c:v>211.17881180000001</c:v>
                </c:pt>
                <c:pt idx="383">
                  <c:v>206.4257614</c:v>
                </c:pt>
                <c:pt idx="384">
                  <c:v>203.7603344</c:v>
                </c:pt>
                <c:pt idx="385">
                  <c:v>200.17364849999998</c:v>
                </c:pt>
                <c:pt idx="386">
                  <c:v>199.37302149999999</c:v>
                </c:pt>
                <c:pt idx="387">
                  <c:v>192.20963829999965</c:v>
                </c:pt>
                <c:pt idx="388">
                  <c:v>195.19623810000004</c:v>
                </c:pt>
                <c:pt idx="389">
                  <c:v>198.21434059999999</c:v>
                </c:pt>
                <c:pt idx="390">
                  <c:v>198.33343579999999</c:v>
                </c:pt>
                <c:pt idx="391">
                  <c:v>203.08187599999999</c:v>
                </c:pt>
                <c:pt idx="392">
                  <c:v>198.82134190000068</c:v>
                </c:pt>
                <c:pt idx="393">
                  <c:v>199.8163629</c:v>
                </c:pt>
                <c:pt idx="394">
                  <c:v>204.4718321</c:v>
                </c:pt>
                <c:pt idx="395">
                  <c:v>204.72769459999998</c:v>
                </c:pt>
                <c:pt idx="396">
                  <c:v>199.49595840000001</c:v>
                </c:pt>
                <c:pt idx="397">
                  <c:v>199.75950459999956</c:v>
                </c:pt>
                <c:pt idx="398">
                  <c:v>200.41952239999998</c:v>
                </c:pt>
                <c:pt idx="399">
                  <c:v>201.96852810000001</c:v>
                </c:pt>
                <c:pt idx="400">
                  <c:v>203.53290100000001</c:v>
                </c:pt>
                <c:pt idx="401">
                  <c:v>206.11611399999998</c:v>
                </c:pt>
                <c:pt idx="402">
                  <c:v>206.02006950000001</c:v>
                </c:pt>
                <c:pt idx="403">
                  <c:v>208.01549009999999</c:v>
                </c:pt>
                <c:pt idx="404">
                  <c:v>208.6593724</c:v>
                </c:pt>
                <c:pt idx="405">
                  <c:v>210.61483849999999</c:v>
                </c:pt>
                <c:pt idx="406">
                  <c:v>215.11509969999992</c:v>
                </c:pt>
                <c:pt idx="407">
                  <c:v>213.30946309999999</c:v>
                </c:pt>
                <c:pt idx="408">
                  <c:v>212.1907367</c:v>
                </c:pt>
                <c:pt idx="409">
                  <c:v>210.12001720000001</c:v>
                </c:pt>
                <c:pt idx="410">
                  <c:v>210.83535670000001</c:v>
                </c:pt>
                <c:pt idx="411">
                  <c:v>213.68057899999999</c:v>
                </c:pt>
                <c:pt idx="412">
                  <c:v>210.34668219999998</c:v>
                </c:pt>
                <c:pt idx="413">
                  <c:v>211.02975069999965</c:v>
                </c:pt>
                <c:pt idx="414">
                  <c:v>209.90180409999999</c:v>
                </c:pt>
                <c:pt idx="415">
                  <c:v>211.16037130000001</c:v>
                </c:pt>
                <c:pt idx="416">
                  <c:v>210.6025448</c:v>
                </c:pt>
                <c:pt idx="417">
                  <c:v>213.17576909999966</c:v>
                </c:pt>
                <c:pt idx="418">
                  <c:v>212.26834070000001</c:v>
                </c:pt>
                <c:pt idx="419">
                  <c:v>214.50195159999998</c:v>
                </c:pt>
                <c:pt idx="420">
                  <c:v>216.18157790000001</c:v>
                </c:pt>
                <c:pt idx="421">
                  <c:v>215.68291479999999</c:v>
                </c:pt>
                <c:pt idx="422">
                  <c:v>216.68561940000001</c:v>
                </c:pt>
                <c:pt idx="423">
                  <c:v>218.74327689999998</c:v>
                </c:pt>
                <c:pt idx="424">
                  <c:v>219.11516119999962</c:v>
                </c:pt>
                <c:pt idx="425">
                  <c:v>220.27461039999972</c:v>
                </c:pt>
                <c:pt idx="426">
                  <c:v>217.52235920000001</c:v>
                </c:pt>
                <c:pt idx="427">
                  <c:v>217.64452779999965</c:v>
                </c:pt>
                <c:pt idx="428">
                  <c:v>215.91572669999999</c:v>
                </c:pt>
                <c:pt idx="429">
                  <c:v>216.80394630000046</c:v>
                </c:pt>
                <c:pt idx="430">
                  <c:v>219.06137630000046</c:v>
                </c:pt>
                <c:pt idx="431">
                  <c:v>219.516243</c:v>
                </c:pt>
                <c:pt idx="432">
                  <c:v>221.99188620000001</c:v>
                </c:pt>
                <c:pt idx="433">
                  <c:v>221.70759439999998</c:v>
                </c:pt>
                <c:pt idx="434">
                  <c:v>223.3457295</c:v>
                </c:pt>
                <c:pt idx="435">
                  <c:v>222.9523312000004</c:v>
                </c:pt>
                <c:pt idx="436">
                  <c:v>224.67498539999966</c:v>
                </c:pt>
                <c:pt idx="437">
                  <c:v>223.64385159999952</c:v>
                </c:pt>
                <c:pt idx="438">
                  <c:v>223.24430649999999</c:v>
                </c:pt>
                <c:pt idx="439">
                  <c:v>224.19476289999992</c:v>
                </c:pt>
                <c:pt idx="440">
                  <c:v>224.5827827</c:v>
                </c:pt>
                <c:pt idx="441">
                  <c:v>225.46408700000001</c:v>
                </c:pt>
                <c:pt idx="442">
                  <c:v>222.65036730000034</c:v>
                </c:pt>
                <c:pt idx="443">
                  <c:v>220.01106429999959</c:v>
                </c:pt>
                <c:pt idx="444">
                  <c:v>219.20505889999998</c:v>
                </c:pt>
                <c:pt idx="445">
                  <c:v>220.48514000000034</c:v>
                </c:pt>
                <c:pt idx="446">
                  <c:v>220.09481509999998</c:v>
                </c:pt>
                <c:pt idx="447">
                  <c:v>220.7847988</c:v>
                </c:pt>
                <c:pt idx="448">
                  <c:v>222.15170419999998</c:v>
                </c:pt>
                <c:pt idx="449">
                  <c:v>224.24163259999995</c:v>
                </c:pt>
                <c:pt idx="450">
                  <c:v>223.80981650000001</c:v>
                </c:pt>
                <c:pt idx="451">
                  <c:v>224.19783630000046</c:v>
                </c:pt>
                <c:pt idx="452">
                  <c:v>222.43906939999999</c:v>
                </c:pt>
                <c:pt idx="453">
                  <c:v>222.31382730000001</c:v>
                </c:pt>
                <c:pt idx="454">
                  <c:v>223.5063159</c:v>
                </c:pt>
                <c:pt idx="455">
                  <c:v>224.34228720000004</c:v>
                </c:pt>
                <c:pt idx="456">
                  <c:v>225.26738790000007</c:v>
                </c:pt>
                <c:pt idx="457">
                  <c:v>225.29428039999999</c:v>
                </c:pt>
                <c:pt idx="458">
                  <c:v>229.3066355</c:v>
                </c:pt>
                <c:pt idx="459">
                  <c:v>228.81104590000001</c:v>
                </c:pt>
                <c:pt idx="460">
                  <c:v>233.05006610000001</c:v>
                </c:pt>
                <c:pt idx="461">
                  <c:v>236.1734333</c:v>
                </c:pt>
                <c:pt idx="462">
                  <c:v>235.13461599999965</c:v>
                </c:pt>
                <c:pt idx="463">
                  <c:v>235.59025109999999</c:v>
                </c:pt>
                <c:pt idx="464">
                  <c:v>236.09352429999956</c:v>
                </c:pt>
                <c:pt idx="465">
                  <c:v>236.56298980000034</c:v>
                </c:pt>
                <c:pt idx="466">
                  <c:v>239.68712540000001</c:v>
                </c:pt>
                <c:pt idx="467">
                  <c:v>238.63678269999966</c:v>
                </c:pt>
                <c:pt idx="468">
                  <c:v>240.06823000000034</c:v>
                </c:pt>
                <c:pt idx="469">
                  <c:v>239.29603219999998</c:v>
                </c:pt>
                <c:pt idx="470">
                  <c:v>240.32870270000001</c:v>
                </c:pt>
                <c:pt idx="471">
                  <c:v>239.69327229999965</c:v>
                </c:pt>
                <c:pt idx="472">
                  <c:v>241.30605159999999</c:v>
                </c:pt>
                <c:pt idx="473">
                  <c:v>242.29185239999998</c:v>
                </c:pt>
                <c:pt idx="474">
                  <c:v>242.0936165</c:v>
                </c:pt>
                <c:pt idx="475">
                  <c:v>243.758644</c:v>
                </c:pt>
                <c:pt idx="476">
                  <c:v>246.65534620000034</c:v>
                </c:pt>
                <c:pt idx="477">
                  <c:v>245.71257339999966</c:v>
                </c:pt>
                <c:pt idx="478">
                  <c:v>248.0652795</c:v>
                </c:pt>
                <c:pt idx="479">
                  <c:v>248.56394259999999</c:v>
                </c:pt>
                <c:pt idx="480">
                  <c:v>251.25242030000047</c:v>
                </c:pt>
                <c:pt idx="481">
                  <c:v>250.77834469999999</c:v>
                </c:pt>
                <c:pt idx="482">
                  <c:v>252.36576819999999</c:v>
                </c:pt>
                <c:pt idx="483">
                  <c:v>255.91249960000007</c:v>
                </c:pt>
                <c:pt idx="484">
                  <c:v>255.07883330000001</c:v>
                </c:pt>
                <c:pt idx="485">
                  <c:v>253.23401049999998</c:v>
                </c:pt>
                <c:pt idx="486">
                  <c:v>253.9639487</c:v>
                </c:pt>
                <c:pt idx="487">
                  <c:v>252.60088509999972</c:v>
                </c:pt>
                <c:pt idx="488">
                  <c:v>257.44844330000001</c:v>
                </c:pt>
                <c:pt idx="489">
                  <c:v>258.69779020000004</c:v>
                </c:pt>
                <c:pt idx="490">
                  <c:v>259.22872419999999</c:v>
                </c:pt>
                <c:pt idx="491">
                  <c:v>256.6117036</c:v>
                </c:pt>
                <c:pt idx="492">
                  <c:v>256.71466329999998</c:v>
                </c:pt>
                <c:pt idx="493">
                  <c:v>255.32854900000046</c:v>
                </c:pt>
                <c:pt idx="494">
                  <c:v>256.20370649999921</c:v>
                </c:pt>
                <c:pt idx="495">
                  <c:v>256.44727539999997</c:v>
                </c:pt>
                <c:pt idx="496">
                  <c:v>258.37354399999964</c:v>
                </c:pt>
                <c:pt idx="497">
                  <c:v>258.05083440000004</c:v>
                </c:pt>
                <c:pt idx="498">
                  <c:v>254.84525309999998</c:v>
                </c:pt>
                <c:pt idx="499">
                  <c:v>255.40000610000001</c:v>
                </c:pt>
                <c:pt idx="500">
                  <c:v>255.66893080000034</c:v>
                </c:pt>
                <c:pt idx="501">
                  <c:v>258.98054519999999</c:v>
                </c:pt>
                <c:pt idx="502">
                  <c:v>259.92331809999877</c:v>
                </c:pt>
                <c:pt idx="503">
                  <c:v>261.08891419999969</c:v>
                </c:pt>
                <c:pt idx="504">
                  <c:v>265.05977810000002</c:v>
                </c:pt>
                <c:pt idx="505">
                  <c:v>265.46085989999995</c:v>
                </c:pt>
                <c:pt idx="506">
                  <c:v>267.6706519</c:v>
                </c:pt>
                <c:pt idx="507">
                  <c:v>268.7532655</c:v>
                </c:pt>
                <c:pt idx="508">
                  <c:v>268.32836459999999</c:v>
                </c:pt>
                <c:pt idx="509">
                  <c:v>265.72363769999993</c:v>
                </c:pt>
                <c:pt idx="510">
                  <c:v>261.1342472</c:v>
                </c:pt>
                <c:pt idx="511">
                  <c:v>259.82035839999969</c:v>
                </c:pt>
                <c:pt idx="512">
                  <c:v>259.01896299999999</c:v>
                </c:pt>
                <c:pt idx="513">
                  <c:v>258.14764730000093</c:v>
                </c:pt>
                <c:pt idx="514">
                  <c:v>260.0493285</c:v>
                </c:pt>
                <c:pt idx="515">
                  <c:v>260.90297199999969</c:v>
                </c:pt>
                <c:pt idx="516">
                  <c:v>261.44696809999999</c:v>
                </c:pt>
                <c:pt idx="517">
                  <c:v>255.43150869999999</c:v>
                </c:pt>
                <c:pt idx="518">
                  <c:v>254.68543500000001</c:v>
                </c:pt>
                <c:pt idx="519">
                  <c:v>255.28552109999998</c:v>
                </c:pt>
                <c:pt idx="520">
                  <c:v>252.75225130000001</c:v>
                </c:pt>
                <c:pt idx="521">
                  <c:v>254.24747209999998</c:v>
                </c:pt>
                <c:pt idx="522">
                  <c:v>251.65119710000027</c:v>
                </c:pt>
                <c:pt idx="523">
                  <c:v>255.4368872</c:v>
                </c:pt>
                <c:pt idx="524">
                  <c:v>259.50533239999999</c:v>
                </c:pt>
                <c:pt idx="525">
                  <c:v>258.90524629999999</c:v>
                </c:pt>
                <c:pt idx="526">
                  <c:v>259.56603249999921</c:v>
                </c:pt>
                <c:pt idx="527">
                  <c:v>260.65402460000092</c:v>
                </c:pt>
                <c:pt idx="528">
                  <c:v>258.74850169999996</c:v>
                </c:pt>
                <c:pt idx="529">
                  <c:v>260.71856659999969</c:v>
                </c:pt>
                <c:pt idx="530">
                  <c:v>259.22334569999964</c:v>
                </c:pt>
                <c:pt idx="531">
                  <c:v>259.04431879999999</c:v>
                </c:pt>
                <c:pt idx="532">
                  <c:v>260.02627779999921</c:v>
                </c:pt>
                <c:pt idx="533">
                  <c:v>257.77653129999908</c:v>
                </c:pt>
                <c:pt idx="534">
                  <c:v>255.66124720000033</c:v>
                </c:pt>
                <c:pt idx="535">
                  <c:v>256.82991669999996</c:v>
                </c:pt>
                <c:pt idx="536">
                  <c:v>254.053078</c:v>
                </c:pt>
                <c:pt idx="537">
                  <c:v>256.79918249999969</c:v>
                </c:pt>
                <c:pt idx="538">
                  <c:v>257.61517659999993</c:v>
                </c:pt>
                <c:pt idx="539">
                  <c:v>257.33165319999995</c:v>
                </c:pt>
                <c:pt idx="540">
                  <c:v>258.0400775</c:v>
                </c:pt>
                <c:pt idx="541">
                  <c:v>259.04892889999996</c:v>
                </c:pt>
                <c:pt idx="542">
                  <c:v>261.70129389999994</c:v>
                </c:pt>
                <c:pt idx="543">
                  <c:v>263.68134739999999</c:v>
                </c:pt>
                <c:pt idx="544">
                  <c:v>264.25454100000002</c:v>
                </c:pt>
                <c:pt idx="545">
                  <c:v>263.75895129999969</c:v>
                </c:pt>
                <c:pt idx="546">
                  <c:v>267.40787410000002</c:v>
                </c:pt>
                <c:pt idx="547">
                  <c:v>269.90733629999914</c:v>
                </c:pt>
                <c:pt idx="548">
                  <c:v>270.10249870000001</c:v>
                </c:pt>
                <c:pt idx="549">
                  <c:v>269.6599256000008</c:v>
                </c:pt>
                <c:pt idx="550">
                  <c:v>266.18926150000038</c:v>
                </c:pt>
                <c:pt idx="551">
                  <c:v>260.2076098</c:v>
                </c:pt>
                <c:pt idx="552">
                  <c:v>260.44810519999999</c:v>
                </c:pt>
                <c:pt idx="553">
                  <c:v>263.71361829999921</c:v>
                </c:pt>
                <c:pt idx="554">
                  <c:v>266.24074130000002</c:v>
                </c:pt>
                <c:pt idx="555">
                  <c:v>265.3494483000008</c:v>
                </c:pt>
                <c:pt idx="556">
                  <c:v>263.21572359999999</c:v>
                </c:pt>
                <c:pt idx="557">
                  <c:v>264.80622060000002</c:v>
                </c:pt>
                <c:pt idx="558">
                  <c:v>266.45511259999921</c:v>
                </c:pt>
                <c:pt idx="559">
                  <c:v>262.83999749999964</c:v>
                </c:pt>
                <c:pt idx="560">
                  <c:v>260.20837819999969</c:v>
                </c:pt>
                <c:pt idx="561">
                  <c:v>256.03543660000003</c:v>
                </c:pt>
                <c:pt idx="562">
                  <c:v>256.73310389999915</c:v>
                </c:pt>
                <c:pt idx="563">
                  <c:v>259.95866239999998</c:v>
                </c:pt>
                <c:pt idx="564">
                  <c:v>261.23259669999999</c:v>
                </c:pt>
                <c:pt idx="565">
                  <c:v>259.27713069999999</c:v>
                </c:pt>
                <c:pt idx="566">
                  <c:v>255.80646650000034</c:v>
                </c:pt>
                <c:pt idx="567">
                  <c:v>256.71619999999876</c:v>
                </c:pt>
                <c:pt idx="568">
                  <c:v>260.17841229999999</c:v>
                </c:pt>
                <c:pt idx="569">
                  <c:v>260.10618679999999</c:v>
                </c:pt>
                <c:pt idx="570">
                  <c:v>260.92986450000001</c:v>
                </c:pt>
                <c:pt idx="571">
                  <c:v>261.33939819999995</c:v>
                </c:pt>
                <c:pt idx="572">
                  <c:v>261.35015519999996</c:v>
                </c:pt>
                <c:pt idx="573">
                  <c:v>258.09309399999921</c:v>
                </c:pt>
                <c:pt idx="574">
                  <c:v>253.21787499999965</c:v>
                </c:pt>
                <c:pt idx="575">
                  <c:v>251.2854596</c:v>
                </c:pt>
                <c:pt idx="576">
                  <c:v>254.75842890000047</c:v>
                </c:pt>
                <c:pt idx="577">
                  <c:v>254.37348249999999</c:v>
                </c:pt>
                <c:pt idx="578">
                  <c:v>255.95629590000001</c:v>
                </c:pt>
                <c:pt idx="579">
                  <c:v>257.24482899999998</c:v>
                </c:pt>
                <c:pt idx="580">
                  <c:v>258.95057929999933</c:v>
                </c:pt>
                <c:pt idx="581">
                  <c:v>258.32897929999933</c:v>
                </c:pt>
                <c:pt idx="582">
                  <c:v>255.14183850000001</c:v>
                </c:pt>
                <c:pt idx="583">
                  <c:v>256.34354730000001</c:v>
                </c:pt>
                <c:pt idx="584">
                  <c:v>252.88210350000034</c:v>
                </c:pt>
                <c:pt idx="585">
                  <c:v>254.53253219999999</c:v>
                </c:pt>
                <c:pt idx="586">
                  <c:v>254.36503060000001</c:v>
                </c:pt>
                <c:pt idx="587">
                  <c:v>257.41309889999928</c:v>
                </c:pt>
                <c:pt idx="588">
                  <c:v>255.82490700000034</c:v>
                </c:pt>
                <c:pt idx="589">
                  <c:v>256.91443589999994</c:v>
                </c:pt>
                <c:pt idx="590">
                  <c:v>260.34053539999996</c:v>
                </c:pt>
                <c:pt idx="591">
                  <c:v>261.63598359999997</c:v>
                </c:pt>
                <c:pt idx="592">
                  <c:v>263.36247959999997</c:v>
                </c:pt>
                <c:pt idx="593">
                  <c:v>263.08817649999884</c:v>
                </c:pt>
                <c:pt idx="594">
                  <c:v>262.27218239999996</c:v>
                </c:pt>
                <c:pt idx="595">
                  <c:v>259.6328795</c:v>
                </c:pt>
                <c:pt idx="596">
                  <c:v>261.99787929999934</c:v>
                </c:pt>
                <c:pt idx="597">
                  <c:v>255.46224300000034</c:v>
                </c:pt>
                <c:pt idx="598">
                  <c:v>256.66010999999969</c:v>
                </c:pt>
                <c:pt idx="599">
                  <c:v>255.23788299999998</c:v>
                </c:pt>
                <c:pt idx="600">
                  <c:v>256.21830529999914</c:v>
                </c:pt>
                <c:pt idx="601">
                  <c:v>259.83418879999999</c:v>
                </c:pt>
                <c:pt idx="602">
                  <c:v>261.18572699999999</c:v>
                </c:pt>
                <c:pt idx="603">
                  <c:v>262.60488060000154</c:v>
                </c:pt>
                <c:pt idx="604">
                  <c:v>265.23649999999884</c:v>
                </c:pt>
                <c:pt idx="605">
                  <c:v>266.60340540000004</c:v>
                </c:pt>
                <c:pt idx="606">
                  <c:v>266.61569909999997</c:v>
                </c:pt>
                <c:pt idx="607">
                  <c:v>266.50889760000001</c:v>
                </c:pt>
                <c:pt idx="608">
                  <c:v>270.50665400000003</c:v>
                </c:pt>
                <c:pt idx="609">
                  <c:v>272.79251309999921</c:v>
                </c:pt>
                <c:pt idx="610">
                  <c:v>274.40606079999969</c:v>
                </c:pt>
                <c:pt idx="611">
                  <c:v>275.87131569999963</c:v>
                </c:pt>
                <c:pt idx="612">
                  <c:v>274.50287370000001</c:v>
                </c:pt>
                <c:pt idx="613">
                  <c:v>276.54439559999997</c:v>
                </c:pt>
                <c:pt idx="614">
                  <c:v>277.50330389999999</c:v>
                </c:pt>
                <c:pt idx="615">
                  <c:v>278.22479019999997</c:v>
                </c:pt>
                <c:pt idx="616">
                  <c:v>276.90168119999998</c:v>
                </c:pt>
                <c:pt idx="617">
                  <c:v>274.7725666</c:v>
                </c:pt>
                <c:pt idx="618">
                  <c:v>276.38841929999921</c:v>
                </c:pt>
                <c:pt idx="619">
                  <c:v>277.11605249999963</c:v>
                </c:pt>
                <c:pt idx="620">
                  <c:v>277.6254725</c:v>
                </c:pt>
                <c:pt idx="621">
                  <c:v>276.6826997</c:v>
                </c:pt>
                <c:pt idx="622">
                  <c:v>277.04613209999934</c:v>
                </c:pt>
                <c:pt idx="623">
                  <c:v>281.08537969999969</c:v>
                </c:pt>
                <c:pt idx="624">
                  <c:v>282.06733869999999</c:v>
                </c:pt>
                <c:pt idx="625">
                  <c:v>281.99895499999883</c:v>
                </c:pt>
                <c:pt idx="626">
                  <c:v>283.59252539999994</c:v>
                </c:pt>
                <c:pt idx="627">
                  <c:v>285.66785510000068</c:v>
                </c:pt>
                <c:pt idx="628">
                  <c:v>285.91065559999993</c:v>
                </c:pt>
                <c:pt idx="629">
                  <c:v>286.89107779999921</c:v>
                </c:pt>
                <c:pt idx="630">
                  <c:v>284.17032920000003</c:v>
                </c:pt>
                <c:pt idx="631">
                  <c:v>282.7035374999989</c:v>
                </c:pt>
                <c:pt idx="632">
                  <c:v>277.70614989999928</c:v>
                </c:pt>
                <c:pt idx="633">
                  <c:v>276.67347939999996</c:v>
                </c:pt>
                <c:pt idx="634">
                  <c:v>279.1268402</c:v>
                </c:pt>
                <c:pt idx="635">
                  <c:v>281.01545929999969</c:v>
                </c:pt>
                <c:pt idx="636">
                  <c:v>283.34972490000001</c:v>
                </c:pt>
                <c:pt idx="637">
                  <c:v>278.32313979999884</c:v>
                </c:pt>
                <c:pt idx="638">
                  <c:v>280.8302855</c:v>
                </c:pt>
                <c:pt idx="639">
                  <c:v>277.70461319999998</c:v>
                </c:pt>
                <c:pt idx="640">
                  <c:v>277.17828930000002</c:v>
                </c:pt>
                <c:pt idx="641">
                  <c:v>279.62934510000002</c:v>
                </c:pt>
                <c:pt idx="642">
                  <c:v>280.2709223</c:v>
                </c:pt>
                <c:pt idx="643">
                  <c:v>280.86793499999999</c:v>
                </c:pt>
                <c:pt idx="644">
                  <c:v>274.57356239999996</c:v>
                </c:pt>
                <c:pt idx="645">
                  <c:v>276.82638229999969</c:v>
                </c:pt>
                <c:pt idx="646">
                  <c:v>276.01576669999997</c:v>
                </c:pt>
                <c:pt idx="647">
                  <c:v>279.29280510000001</c:v>
                </c:pt>
                <c:pt idx="648">
                  <c:v>281.5417832</c:v>
                </c:pt>
                <c:pt idx="649">
                  <c:v>281.87448140000032</c:v>
                </c:pt>
                <c:pt idx="650">
                  <c:v>282.80035039999996</c:v>
                </c:pt>
                <c:pt idx="651">
                  <c:v>283.43731749999858</c:v>
                </c:pt>
                <c:pt idx="652">
                  <c:v>283.29132989999908</c:v>
                </c:pt>
                <c:pt idx="653">
                  <c:v>283.28441469999996</c:v>
                </c:pt>
                <c:pt idx="654">
                  <c:v>281.32587519999998</c:v>
                </c:pt>
                <c:pt idx="655">
                  <c:v>281.41116269999969</c:v>
                </c:pt>
                <c:pt idx="656">
                  <c:v>279.51870179999969</c:v>
                </c:pt>
                <c:pt idx="657">
                  <c:v>279.40498509999998</c:v>
                </c:pt>
                <c:pt idx="658">
                  <c:v>278.53290099999964</c:v>
                </c:pt>
                <c:pt idx="659">
                  <c:v>276.60509570000005</c:v>
                </c:pt>
                <c:pt idx="660">
                  <c:v>278.88096630000001</c:v>
                </c:pt>
                <c:pt idx="661">
                  <c:v>279.85601009999999</c:v>
                </c:pt>
                <c:pt idx="662">
                  <c:v>274.97618099999914</c:v>
                </c:pt>
                <c:pt idx="663">
                  <c:v>275.51556689999995</c:v>
                </c:pt>
                <c:pt idx="664">
                  <c:v>276.10720099999998</c:v>
                </c:pt>
                <c:pt idx="665">
                  <c:v>279.11454650000002</c:v>
                </c:pt>
                <c:pt idx="666">
                  <c:v>280.57672799999921</c:v>
                </c:pt>
                <c:pt idx="667">
                  <c:v>278.9939145999989</c:v>
                </c:pt>
                <c:pt idx="668">
                  <c:v>280.23404119999998</c:v>
                </c:pt>
                <c:pt idx="669">
                  <c:v>277.73381069999999</c:v>
                </c:pt>
                <c:pt idx="670">
                  <c:v>278.84485360000093</c:v>
                </c:pt>
                <c:pt idx="671">
                  <c:v>281.06693919999969</c:v>
                </c:pt>
                <c:pt idx="672">
                  <c:v>286.05817989999969</c:v>
                </c:pt>
                <c:pt idx="673">
                  <c:v>288.62372069999998</c:v>
                </c:pt>
                <c:pt idx="674">
                  <c:v>291.61646739999998</c:v>
                </c:pt>
                <c:pt idx="675">
                  <c:v>290.07668189999998</c:v>
                </c:pt>
                <c:pt idx="676">
                  <c:v>289.45124010000001</c:v>
                </c:pt>
                <c:pt idx="677">
                  <c:v>291.18695639999999</c:v>
                </c:pt>
                <c:pt idx="678">
                  <c:v>294.92654519999928</c:v>
                </c:pt>
                <c:pt idx="679">
                  <c:v>292.21117499999889</c:v>
                </c:pt>
                <c:pt idx="680">
                  <c:v>288.14272979999998</c:v>
                </c:pt>
                <c:pt idx="681">
                  <c:v>291.45895439999993</c:v>
                </c:pt>
                <c:pt idx="682">
                  <c:v>292.4178627</c:v>
                </c:pt>
                <c:pt idx="683">
                  <c:v>293.33143809999933</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884</c:v>
                </c:pt>
                <c:pt idx="692">
                  <c:v>303.85714720000004</c:v>
                </c:pt>
                <c:pt idx="693">
                  <c:v>303.8517688</c:v>
                </c:pt>
                <c:pt idx="694">
                  <c:v>308.48341889999915</c:v>
                </c:pt>
                <c:pt idx="695">
                  <c:v>307.66972980000008</c:v>
                </c:pt>
                <c:pt idx="696">
                  <c:v>303.71730649999921</c:v>
                </c:pt>
                <c:pt idx="697">
                  <c:v>299.99385319999999</c:v>
                </c:pt>
                <c:pt idx="698">
                  <c:v>289.92992589999994</c:v>
                </c:pt>
                <c:pt idx="699">
                  <c:v>283.27212100000003</c:v>
                </c:pt>
                <c:pt idx="700">
                  <c:v>277.86750469999998</c:v>
                </c:pt>
                <c:pt idx="701">
                  <c:v>279.18523529999999</c:v>
                </c:pt>
                <c:pt idx="702">
                  <c:v>286.87801579999933</c:v>
                </c:pt>
                <c:pt idx="703">
                  <c:v>282.34164180000067</c:v>
                </c:pt>
                <c:pt idx="704">
                  <c:v>287.15001380000001</c:v>
                </c:pt>
                <c:pt idx="705">
                  <c:v>286.364754</c:v>
                </c:pt>
                <c:pt idx="706">
                  <c:v>287.21301899999884</c:v>
                </c:pt>
                <c:pt idx="707">
                  <c:v>288.07895629999933</c:v>
                </c:pt>
                <c:pt idx="708">
                  <c:v>283.62172299999969</c:v>
                </c:pt>
                <c:pt idx="709">
                  <c:v>281.70621139999969</c:v>
                </c:pt>
                <c:pt idx="710">
                  <c:v>284.66438210000086</c:v>
                </c:pt>
                <c:pt idx="711">
                  <c:v>281.50336539999995</c:v>
                </c:pt>
                <c:pt idx="712">
                  <c:v>281.20831669999922</c:v>
                </c:pt>
                <c:pt idx="713">
                  <c:v>280.62206099999997</c:v>
                </c:pt>
                <c:pt idx="714">
                  <c:v>281.81301289999999</c:v>
                </c:pt>
                <c:pt idx="715">
                  <c:v>281.50567050000001</c:v>
                </c:pt>
                <c:pt idx="716">
                  <c:v>286.36705899999993</c:v>
                </c:pt>
                <c:pt idx="717">
                  <c:v>285.76082609999997</c:v>
                </c:pt>
                <c:pt idx="718">
                  <c:v>287.61256420000001</c:v>
                </c:pt>
                <c:pt idx="719">
                  <c:v>284.54375019999998</c:v>
                </c:pt>
                <c:pt idx="720">
                  <c:v>283.57715829999921</c:v>
                </c:pt>
                <c:pt idx="721">
                  <c:v>289.0808925</c:v>
                </c:pt>
                <c:pt idx="722">
                  <c:v>288.25260470000001</c:v>
                </c:pt>
                <c:pt idx="723">
                  <c:v>285.2982757999992</c:v>
                </c:pt>
                <c:pt idx="724">
                  <c:v>276.91090139999994</c:v>
                </c:pt>
                <c:pt idx="725">
                  <c:v>275.03688110000002</c:v>
                </c:pt>
                <c:pt idx="726">
                  <c:v>270.35144600000001</c:v>
                </c:pt>
                <c:pt idx="727">
                  <c:v>272.99228569999997</c:v>
                </c:pt>
                <c:pt idx="728">
                  <c:v>273.58238310000002</c:v>
                </c:pt>
                <c:pt idx="729">
                  <c:v>267.53772629999969</c:v>
                </c:pt>
                <c:pt idx="730">
                  <c:v>268.3391216</c:v>
                </c:pt>
                <c:pt idx="731">
                  <c:v>266.3844239</c:v>
                </c:pt>
                <c:pt idx="732">
                  <c:v>253.5298276</c:v>
                </c:pt>
                <c:pt idx="733">
                  <c:v>253.19021419999999</c:v>
                </c:pt>
                <c:pt idx="734">
                  <c:v>244.72984600000001</c:v>
                </c:pt>
                <c:pt idx="735">
                  <c:v>253.86636750000034</c:v>
                </c:pt>
                <c:pt idx="736">
                  <c:v>254.87291390000001</c:v>
                </c:pt>
                <c:pt idx="737">
                  <c:v>255.22251589999999</c:v>
                </c:pt>
                <c:pt idx="738">
                  <c:v>255.32009710000034</c:v>
                </c:pt>
                <c:pt idx="739">
                  <c:v>246.47555089999992</c:v>
                </c:pt>
                <c:pt idx="740">
                  <c:v>242.75747610000033</c:v>
                </c:pt>
                <c:pt idx="741">
                  <c:v>244.68528140000001</c:v>
                </c:pt>
                <c:pt idx="742">
                  <c:v>250.35651720000001</c:v>
                </c:pt>
                <c:pt idx="743">
                  <c:v>251.76721890000007</c:v>
                </c:pt>
                <c:pt idx="744">
                  <c:v>254.73768329999959</c:v>
                </c:pt>
                <c:pt idx="745">
                  <c:v>257.58905249999964</c:v>
                </c:pt>
                <c:pt idx="746">
                  <c:v>261.82115749999889</c:v>
                </c:pt>
                <c:pt idx="747">
                  <c:v>261.71819769999928</c:v>
                </c:pt>
                <c:pt idx="748">
                  <c:v>263.54611669999969</c:v>
                </c:pt>
                <c:pt idx="749">
                  <c:v>266.89614899999884</c:v>
                </c:pt>
                <c:pt idx="750">
                  <c:v>261.16959150000002</c:v>
                </c:pt>
                <c:pt idx="751">
                  <c:v>263.54688510000068</c:v>
                </c:pt>
                <c:pt idx="752">
                  <c:v>259.93484339999998</c:v>
                </c:pt>
                <c:pt idx="753">
                  <c:v>259.35089280000068</c:v>
                </c:pt>
                <c:pt idx="754">
                  <c:v>263.4078126</c:v>
                </c:pt>
                <c:pt idx="755">
                  <c:v>264.90764359999997</c:v>
                </c:pt>
                <c:pt idx="756">
                  <c:v>264.7785597999989</c:v>
                </c:pt>
                <c:pt idx="757">
                  <c:v>271.9580784999992</c:v>
                </c:pt>
                <c:pt idx="758">
                  <c:v>276.46448660000038</c:v>
                </c:pt>
                <c:pt idx="759">
                  <c:v>273.26044200000001</c:v>
                </c:pt>
                <c:pt idx="760">
                  <c:v>265.58226020000001</c:v>
                </c:pt>
                <c:pt idx="761">
                  <c:v>267.67910380000001</c:v>
                </c:pt>
                <c:pt idx="762">
                  <c:v>264.6579279</c:v>
                </c:pt>
                <c:pt idx="763">
                  <c:v>270.03718839999999</c:v>
                </c:pt>
                <c:pt idx="764">
                  <c:v>269.33337429999921</c:v>
                </c:pt>
                <c:pt idx="765">
                  <c:v>270.71641519999969</c:v>
                </c:pt>
                <c:pt idx="766">
                  <c:v>270.96228910000002</c:v>
                </c:pt>
                <c:pt idx="767">
                  <c:v>265.22036449999933</c:v>
                </c:pt>
                <c:pt idx="768">
                  <c:v>266.15084370000068</c:v>
                </c:pt>
                <c:pt idx="769">
                  <c:v>270.33992070000005</c:v>
                </c:pt>
                <c:pt idx="770">
                  <c:v>268.93920769999994</c:v>
                </c:pt>
                <c:pt idx="771">
                  <c:v>269.28804129999969</c:v>
                </c:pt>
                <c:pt idx="772">
                  <c:v>267.05366199999997</c:v>
                </c:pt>
                <c:pt idx="773">
                  <c:v>263.48848999999933</c:v>
                </c:pt>
                <c:pt idx="774">
                  <c:v>259.65823519999998</c:v>
                </c:pt>
                <c:pt idx="775">
                  <c:v>260.64326770000002</c:v>
                </c:pt>
                <c:pt idx="776">
                  <c:v>258.77462580000002</c:v>
                </c:pt>
                <c:pt idx="777">
                  <c:v>259.35473459999997</c:v>
                </c:pt>
                <c:pt idx="778">
                  <c:v>255.38002890000047</c:v>
                </c:pt>
                <c:pt idx="779">
                  <c:v>257.46534709999969</c:v>
                </c:pt>
                <c:pt idx="780">
                  <c:v>257.95786340000001</c:v>
                </c:pt>
                <c:pt idx="781">
                  <c:v>261.47539719999969</c:v>
                </c:pt>
                <c:pt idx="782">
                  <c:v>268.21464790000005</c:v>
                </c:pt>
                <c:pt idx="783">
                  <c:v>270.42443989999964</c:v>
                </c:pt>
                <c:pt idx="784">
                  <c:v>269.65531549999969</c:v>
                </c:pt>
                <c:pt idx="785">
                  <c:v>268.28841009999934</c:v>
                </c:pt>
                <c:pt idx="786">
                  <c:v>270.29842949999914</c:v>
                </c:pt>
                <c:pt idx="787">
                  <c:v>268.62264499999998</c:v>
                </c:pt>
                <c:pt idx="788">
                  <c:v>265.81891389999993</c:v>
                </c:pt>
                <c:pt idx="789">
                  <c:v>266.47739499999921</c:v>
                </c:pt>
                <c:pt idx="790">
                  <c:v>264.4504718</c:v>
                </c:pt>
                <c:pt idx="791">
                  <c:v>262.96600789999928</c:v>
                </c:pt>
                <c:pt idx="792">
                  <c:v>260.88529979999993</c:v>
                </c:pt>
                <c:pt idx="793">
                  <c:v>265.5307803</c:v>
                </c:pt>
                <c:pt idx="794">
                  <c:v>263.7074715</c:v>
                </c:pt>
                <c:pt idx="795">
                  <c:v>263.93106309999934</c:v>
                </c:pt>
                <c:pt idx="796">
                  <c:v>268.02640069999995</c:v>
                </c:pt>
                <c:pt idx="797">
                  <c:v>267.6506746000008</c:v>
                </c:pt>
                <c:pt idx="798">
                  <c:v>269.03909399999969</c:v>
                </c:pt>
                <c:pt idx="799">
                  <c:v>268.137044</c:v>
                </c:pt>
                <c:pt idx="800">
                  <c:v>267.84506870000001</c:v>
                </c:pt>
                <c:pt idx="801">
                  <c:v>268.27534809999969</c:v>
                </c:pt>
                <c:pt idx="802">
                  <c:v>268.24384550000002</c:v>
                </c:pt>
                <c:pt idx="803">
                  <c:v>267.95724869999998</c:v>
                </c:pt>
                <c:pt idx="804">
                  <c:v>270.47591969999928</c:v>
                </c:pt>
                <c:pt idx="805">
                  <c:v>272.29769189999996</c:v>
                </c:pt>
                <c:pt idx="806">
                  <c:v>272.36453879999999</c:v>
                </c:pt>
                <c:pt idx="807">
                  <c:v>270.56965920000005</c:v>
                </c:pt>
                <c:pt idx="808">
                  <c:v>270.80784949999997</c:v>
                </c:pt>
                <c:pt idx="809">
                  <c:v>274.19860469999998</c:v>
                </c:pt>
                <c:pt idx="810">
                  <c:v>274.33076190000003</c:v>
                </c:pt>
                <c:pt idx="811">
                  <c:v>274.92623779999883</c:v>
                </c:pt>
                <c:pt idx="812">
                  <c:v>276.74724160000068</c:v>
                </c:pt>
                <c:pt idx="813">
                  <c:v>273.76064170000001</c:v>
                </c:pt>
                <c:pt idx="814">
                  <c:v>278.13105080000003</c:v>
                </c:pt>
                <c:pt idx="815">
                  <c:v>278.28164859999993</c:v>
                </c:pt>
                <c:pt idx="816">
                  <c:v>280.57595969999994</c:v>
                </c:pt>
                <c:pt idx="817">
                  <c:v>282.69815899999884</c:v>
                </c:pt>
                <c:pt idx="818">
                  <c:v>283.50032270000003</c:v>
                </c:pt>
                <c:pt idx="819">
                  <c:v>283.07081169999998</c:v>
                </c:pt>
                <c:pt idx="820">
                  <c:v>285.12846910000002</c:v>
                </c:pt>
                <c:pt idx="821">
                  <c:v>287.22147089999999</c:v>
                </c:pt>
                <c:pt idx="822">
                  <c:v>289.22611179999876</c:v>
                </c:pt>
                <c:pt idx="823">
                  <c:v>285.69090569999997</c:v>
                </c:pt>
                <c:pt idx="824">
                  <c:v>288.75280450000002</c:v>
                </c:pt>
                <c:pt idx="825">
                  <c:v>288.27872879999927</c:v>
                </c:pt>
                <c:pt idx="826">
                  <c:v>292.370993</c:v>
                </c:pt>
                <c:pt idx="827">
                  <c:v>293.00181329999964</c:v>
                </c:pt>
                <c:pt idx="828">
                  <c:v>292.66143160000001</c:v>
                </c:pt>
                <c:pt idx="829">
                  <c:v>292.40172729999921</c:v>
                </c:pt>
                <c:pt idx="830">
                  <c:v>295.34299410000074</c:v>
                </c:pt>
                <c:pt idx="831">
                  <c:v>293.67105139999995</c:v>
                </c:pt>
                <c:pt idx="832">
                  <c:v>289.73245839999993</c:v>
                </c:pt>
                <c:pt idx="833">
                  <c:v>291.44051389999993</c:v>
                </c:pt>
                <c:pt idx="834">
                  <c:v>289.71324949999934</c:v>
                </c:pt>
                <c:pt idx="835">
                  <c:v>291.14085500000067</c:v>
                </c:pt>
                <c:pt idx="836">
                  <c:v>288.52921289999995</c:v>
                </c:pt>
                <c:pt idx="837">
                  <c:v>292.47933119999999</c:v>
                </c:pt>
                <c:pt idx="838">
                  <c:v>295.17165070000004</c:v>
                </c:pt>
                <c:pt idx="839">
                  <c:v>295.94692199999969</c:v>
                </c:pt>
                <c:pt idx="840">
                  <c:v>296.07216399999999</c:v>
                </c:pt>
                <c:pt idx="841">
                  <c:v>295.61345549999999</c:v>
                </c:pt>
                <c:pt idx="842">
                  <c:v>294.97956169999998</c:v>
                </c:pt>
                <c:pt idx="843">
                  <c:v>290.45624979999963</c:v>
                </c:pt>
                <c:pt idx="844">
                  <c:v>294.06291299999964</c:v>
                </c:pt>
                <c:pt idx="845">
                  <c:v>298.85668620000001</c:v>
                </c:pt>
                <c:pt idx="846">
                  <c:v>297.79942829999999</c:v>
                </c:pt>
                <c:pt idx="847">
                  <c:v>300.19285739999998</c:v>
                </c:pt>
                <c:pt idx="848">
                  <c:v>297.93081719999969</c:v>
                </c:pt>
                <c:pt idx="849">
                  <c:v>293.91308359999999</c:v>
                </c:pt>
                <c:pt idx="850">
                  <c:v>291.38058210000008</c:v>
                </c:pt>
                <c:pt idx="851">
                  <c:v>295.95383719999995</c:v>
                </c:pt>
                <c:pt idx="852">
                  <c:v>294.98801359999908</c:v>
                </c:pt>
                <c:pt idx="853">
                  <c:v>292.55847189999997</c:v>
                </c:pt>
                <c:pt idx="854">
                  <c:v>293.97608879999933</c:v>
                </c:pt>
                <c:pt idx="855">
                  <c:v>295.82167989999999</c:v>
                </c:pt>
                <c:pt idx="856">
                  <c:v>294.47167839999969</c:v>
                </c:pt>
                <c:pt idx="857">
                  <c:v>296.29959739999993</c:v>
                </c:pt>
                <c:pt idx="858">
                  <c:v>295.39601069999969</c:v>
                </c:pt>
                <c:pt idx="859">
                  <c:v>294.04677749999934</c:v>
                </c:pt>
                <c:pt idx="860">
                  <c:v>295.46055260000003</c:v>
                </c:pt>
                <c:pt idx="861">
                  <c:v>293.43823949999864</c:v>
                </c:pt>
                <c:pt idx="862">
                  <c:v>293.95457479999999</c:v>
                </c:pt>
                <c:pt idx="863">
                  <c:v>293.94842789999996</c:v>
                </c:pt>
                <c:pt idx="864">
                  <c:v>298.41411319999969</c:v>
                </c:pt>
                <c:pt idx="865">
                  <c:v>298.03224020000005</c:v>
                </c:pt>
                <c:pt idx="866">
                  <c:v>296.4040938</c:v>
                </c:pt>
                <c:pt idx="867">
                  <c:v>298.46712969999999</c:v>
                </c:pt>
                <c:pt idx="868">
                  <c:v>299.5182408</c:v>
                </c:pt>
                <c:pt idx="869">
                  <c:v>299.87859969999994</c:v>
                </c:pt>
                <c:pt idx="870">
                  <c:v>295.40138919999993</c:v>
                </c:pt>
                <c:pt idx="871">
                  <c:v>294.97571989999915</c:v>
                </c:pt>
                <c:pt idx="872">
                  <c:v>293.54043090000005</c:v>
                </c:pt>
                <c:pt idx="873">
                  <c:v>291.93764019999998</c:v>
                </c:pt>
                <c:pt idx="874">
                  <c:v>294.42327199999914</c:v>
                </c:pt>
                <c:pt idx="875">
                  <c:v>296.89199989999969</c:v>
                </c:pt>
                <c:pt idx="876">
                  <c:v>295.26615849999877</c:v>
                </c:pt>
                <c:pt idx="877">
                  <c:v>295.23081419999994</c:v>
                </c:pt>
                <c:pt idx="878">
                  <c:v>296.1536097</c:v>
                </c:pt>
                <c:pt idx="879">
                  <c:v>297.72028769999997</c:v>
                </c:pt>
                <c:pt idx="880">
                  <c:v>297.61425450000002</c:v>
                </c:pt>
                <c:pt idx="881">
                  <c:v>295.88161169999995</c:v>
                </c:pt>
                <c:pt idx="882">
                  <c:v>296.72296160000002</c:v>
                </c:pt>
                <c:pt idx="883">
                  <c:v>297.49515939999884</c:v>
                </c:pt>
                <c:pt idx="884">
                  <c:v>298.50785259999998</c:v>
                </c:pt>
                <c:pt idx="885">
                  <c:v>301.79411129999914</c:v>
                </c:pt>
                <c:pt idx="886">
                  <c:v>303.0496051000008</c:v>
                </c:pt>
                <c:pt idx="887">
                  <c:v>303.35156899999993</c:v>
                </c:pt>
                <c:pt idx="888">
                  <c:v>305.06269790000005</c:v>
                </c:pt>
                <c:pt idx="889">
                  <c:v>304.7315363999989</c:v>
                </c:pt>
                <c:pt idx="890">
                  <c:v>304.07151859999908</c:v>
                </c:pt>
                <c:pt idx="891">
                  <c:v>299.17324889999998</c:v>
                </c:pt>
                <c:pt idx="892">
                  <c:v>299.70034120000003</c:v>
                </c:pt>
                <c:pt idx="893">
                  <c:v>295.40138919999993</c:v>
                </c:pt>
                <c:pt idx="894">
                  <c:v>297.33764639999998</c:v>
                </c:pt>
                <c:pt idx="895">
                  <c:v>295.38141189999999</c:v>
                </c:pt>
                <c:pt idx="896">
                  <c:v>290.85733169999997</c:v>
                </c:pt>
                <c:pt idx="897">
                  <c:v>291.7985677999992</c:v>
                </c:pt>
                <c:pt idx="898">
                  <c:v>285.57257889999994</c:v>
                </c:pt>
                <c:pt idx="899">
                  <c:v>286.40086670000005</c:v>
                </c:pt>
                <c:pt idx="900">
                  <c:v>281.43575009999921</c:v>
                </c:pt>
                <c:pt idx="901">
                  <c:v>280.54215199999999</c:v>
                </c:pt>
                <c:pt idx="902">
                  <c:v>283.25982729999998</c:v>
                </c:pt>
                <c:pt idx="903">
                  <c:v>278.63278730000002</c:v>
                </c:pt>
                <c:pt idx="904">
                  <c:v>279.43264589999995</c:v>
                </c:pt>
                <c:pt idx="905">
                  <c:v>278.50063010000002</c:v>
                </c:pt>
                <c:pt idx="906">
                  <c:v>280.3431478</c:v>
                </c:pt>
                <c:pt idx="907">
                  <c:v>281.68239240000003</c:v>
                </c:pt>
                <c:pt idx="908">
                  <c:v>279.56326639999997</c:v>
                </c:pt>
                <c:pt idx="909">
                  <c:v>279.73230479999921</c:v>
                </c:pt>
                <c:pt idx="910">
                  <c:v>275.81292070000001</c:v>
                </c:pt>
                <c:pt idx="911">
                  <c:v>273.21357219999999</c:v>
                </c:pt>
                <c:pt idx="912">
                  <c:v>274.14712479999997</c:v>
                </c:pt>
                <c:pt idx="913">
                  <c:v>279.92593049999908</c:v>
                </c:pt>
                <c:pt idx="914">
                  <c:v>281.11304050000001</c:v>
                </c:pt>
                <c:pt idx="915">
                  <c:v>277.93435169999964</c:v>
                </c:pt>
                <c:pt idx="916">
                  <c:v>281.54793000000001</c:v>
                </c:pt>
                <c:pt idx="917">
                  <c:v>281.88216489999996</c:v>
                </c:pt>
                <c:pt idx="918">
                  <c:v>282.95171649999884</c:v>
                </c:pt>
                <c:pt idx="919">
                  <c:v>279.52408029999998</c:v>
                </c:pt>
                <c:pt idx="920">
                  <c:v>284.0320251</c:v>
                </c:pt>
                <c:pt idx="921">
                  <c:v>285.0032271</c:v>
                </c:pt>
                <c:pt idx="922">
                  <c:v>287.93757879999896</c:v>
                </c:pt>
                <c:pt idx="923">
                  <c:v>291.38365549999969</c:v>
                </c:pt>
                <c:pt idx="924">
                  <c:v>287.97138639999969</c:v>
                </c:pt>
                <c:pt idx="925">
                  <c:v>286.60140760000002</c:v>
                </c:pt>
                <c:pt idx="926">
                  <c:v>285.49266989999995</c:v>
                </c:pt>
                <c:pt idx="927">
                  <c:v>285.44426349999998</c:v>
                </c:pt>
                <c:pt idx="928">
                  <c:v>289.47890089999999</c:v>
                </c:pt>
                <c:pt idx="929">
                  <c:v>288.60758520000002</c:v>
                </c:pt>
                <c:pt idx="930">
                  <c:v>293.32759629999993</c:v>
                </c:pt>
                <c:pt idx="931">
                  <c:v>295.9692043</c:v>
                </c:pt>
                <c:pt idx="932">
                  <c:v>300.16135480000003</c:v>
                </c:pt>
                <c:pt idx="933">
                  <c:v>300.26661949999908</c:v>
                </c:pt>
                <c:pt idx="934">
                  <c:v>301.04650089999996</c:v>
                </c:pt>
                <c:pt idx="935">
                  <c:v>299.54897499999993</c:v>
                </c:pt>
                <c:pt idx="936">
                  <c:v>295.86163439999996</c:v>
                </c:pt>
                <c:pt idx="937">
                  <c:v>299.62350549999934</c:v>
                </c:pt>
                <c:pt idx="938">
                  <c:v>301.8847773</c:v>
                </c:pt>
                <c:pt idx="939">
                  <c:v>298.83978240000005</c:v>
                </c:pt>
                <c:pt idx="940">
                  <c:v>301.9570028</c:v>
                </c:pt>
                <c:pt idx="941">
                  <c:v>304.76380739999996</c:v>
                </c:pt>
                <c:pt idx="942">
                  <c:v>306.62322889999996</c:v>
                </c:pt>
                <c:pt idx="943">
                  <c:v>307.44844330000001</c:v>
                </c:pt>
                <c:pt idx="944">
                  <c:v>308.97209329999993</c:v>
                </c:pt>
                <c:pt idx="945">
                  <c:v>309.03663519999969</c:v>
                </c:pt>
                <c:pt idx="946">
                  <c:v>304.12991360000001</c:v>
                </c:pt>
                <c:pt idx="947">
                  <c:v>304.1967606</c:v>
                </c:pt>
                <c:pt idx="948">
                  <c:v>304.78762639999997</c:v>
                </c:pt>
                <c:pt idx="949">
                  <c:v>306.47570459999969</c:v>
                </c:pt>
                <c:pt idx="950">
                  <c:v>308.28671969999908</c:v>
                </c:pt>
                <c:pt idx="951">
                  <c:v>309.79423430000003</c:v>
                </c:pt>
                <c:pt idx="952">
                  <c:v>310.79617049999877</c:v>
                </c:pt>
                <c:pt idx="953">
                  <c:v>312.79159109999921</c:v>
                </c:pt>
                <c:pt idx="954">
                  <c:v>310.10772350000002</c:v>
                </c:pt>
                <c:pt idx="955">
                  <c:v>311.54147589999997</c:v>
                </c:pt>
                <c:pt idx="956">
                  <c:v>313.76663489999999</c:v>
                </c:pt>
                <c:pt idx="957">
                  <c:v>312.90146600000003</c:v>
                </c:pt>
                <c:pt idx="958">
                  <c:v>313.37630999999908</c:v>
                </c:pt>
                <c:pt idx="959">
                  <c:v>314.33752339999995</c:v>
                </c:pt>
                <c:pt idx="960">
                  <c:v>314.0578418000008</c:v>
                </c:pt>
                <c:pt idx="961">
                  <c:v>313.9264529999989</c:v>
                </c:pt>
                <c:pt idx="962">
                  <c:v>315.08359709999934</c:v>
                </c:pt>
                <c:pt idx="963">
                  <c:v>315.21959619999996</c:v>
                </c:pt>
                <c:pt idx="964">
                  <c:v>316.54347360000008</c:v>
                </c:pt>
                <c:pt idx="965">
                  <c:v>315.91495839999999</c:v>
                </c:pt>
                <c:pt idx="966">
                  <c:v>316.0148446000008</c:v>
                </c:pt>
                <c:pt idx="967">
                  <c:v>316.7524664</c:v>
                </c:pt>
                <c:pt idx="968">
                  <c:v>316.65181180000002</c:v>
                </c:pt>
                <c:pt idx="969">
                  <c:v>318.08479579999999</c:v>
                </c:pt>
                <c:pt idx="970">
                  <c:v>316.31834529999969</c:v>
                </c:pt>
                <c:pt idx="971">
                  <c:v>315.39631799999859</c:v>
                </c:pt>
                <c:pt idx="972">
                  <c:v>314.42818939999916</c:v>
                </c:pt>
                <c:pt idx="973">
                  <c:v>314.80775729999999</c:v>
                </c:pt>
                <c:pt idx="974">
                  <c:v>312.8791837</c:v>
                </c:pt>
                <c:pt idx="975">
                  <c:v>314.8853613</c:v>
                </c:pt>
                <c:pt idx="976">
                  <c:v>315.89037099999933</c:v>
                </c:pt>
                <c:pt idx="977">
                  <c:v>315.5484525</c:v>
                </c:pt>
                <c:pt idx="978">
                  <c:v>313.53920149999999</c:v>
                </c:pt>
                <c:pt idx="979">
                  <c:v>313.86498450000067</c:v>
                </c:pt>
                <c:pt idx="980">
                  <c:v>317.87272949999999</c:v>
                </c:pt>
                <c:pt idx="981">
                  <c:v>318.03485260000002</c:v>
                </c:pt>
                <c:pt idx="982">
                  <c:v>319.38408579999998</c:v>
                </c:pt>
                <c:pt idx="983">
                  <c:v>322.54894430000002</c:v>
                </c:pt>
                <c:pt idx="984">
                  <c:v>322.2838615</c:v>
                </c:pt>
                <c:pt idx="985">
                  <c:v>329.9082582999992</c:v>
                </c:pt>
                <c:pt idx="986">
                  <c:v>328.87866120000001</c:v>
                </c:pt>
                <c:pt idx="987">
                  <c:v>326.24704179999998</c:v>
                </c:pt>
                <c:pt idx="988">
                  <c:v>328.86022070000001</c:v>
                </c:pt>
                <c:pt idx="989">
                  <c:v>327.33272889999995</c:v>
                </c:pt>
                <c:pt idx="990">
                  <c:v>329.73768330000001</c:v>
                </c:pt>
                <c:pt idx="991">
                  <c:v>325.65310260000001</c:v>
                </c:pt>
                <c:pt idx="992">
                  <c:v>327.73381069999999</c:v>
                </c:pt>
                <c:pt idx="993">
                  <c:v>325.01075699999927</c:v>
                </c:pt>
                <c:pt idx="994">
                  <c:v>328.0388481</c:v>
                </c:pt>
                <c:pt idx="995">
                  <c:v>329.55404620000002</c:v>
                </c:pt>
                <c:pt idx="996">
                  <c:v>328.48295789999969</c:v>
                </c:pt>
                <c:pt idx="997">
                  <c:v>330.11955619999998</c:v>
                </c:pt>
                <c:pt idx="998">
                  <c:v>329.54636260000001</c:v>
                </c:pt>
                <c:pt idx="999">
                  <c:v>330.8087716</c:v>
                </c:pt>
                <c:pt idx="1000">
                  <c:v>331.37351319999999</c:v>
                </c:pt>
                <c:pt idx="1001">
                  <c:v>328.99775639999928</c:v>
                </c:pt>
                <c:pt idx="1002">
                  <c:v>328.05882530000002</c:v>
                </c:pt>
                <c:pt idx="1003">
                  <c:v>326.894766</c:v>
                </c:pt>
                <c:pt idx="1004">
                  <c:v>327.37191509999963</c:v>
                </c:pt>
                <c:pt idx="1005">
                  <c:v>327.90899589999964</c:v>
                </c:pt>
                <c:pt idx="1006">
                  <c:v>327.38497710000001</c:v>
                </c:pt>
                <c:pt idx="1007">
                  <c:v>328.63509239999996</c:v>
                </c:pt>
                <c:pt idx="1008">
                  <c:v>331.48415649999896</c:v>
                </c:pt>
                <c:pt idx="1009">
                  <c:v>331.26287000000002</c:v>
                </c:pt>
                <c:pt idx="1010">
                  <c:v>328.47527429999963</c:v>
                </c:pt>
                <c:pt idx="1011">
                  <c:v>327.74533609999969</c:v>
                </c:pt>
                <c:pt idx="1012">
                  <c:v>327.33272889999995</c:v>
                </c:pt>
                <c:pt idx="1013">
                  <c:v>327.48947349999969</c:v>
                </c:pt>
                <c:pt idx="1014">
                  <c:v>328.91093219999999</c:v>
                </c:pt>
                <c:pt idx="1015">
                  <c:v>328.37615639999927</c:v>
                </c:pt>
                <c:pt idx="1016">
                  <c:v>325.67615329999921</c:v>
                </c:pt>
                <c:pt idx="1017">
                  <c:v>326.62430460000002</c:v>
                </c:pt>
                <c:pt idx="1018">
                  <c:v>327.47410639999993</c:v>
                </c:pt>
                <c:pt idx="1019">
                  <c:v>325.63158869999995</c:v>
                </c:pt>
                <c:pt idx="1020">
                  <c:v>324.4698343</c:v>
                </c:pt>
                <c:pt idx="1021">
                  <c:v>323.95196239999996</c:v>
                </c:pt>
                <c:pt idx="1022">
                  <c:v>322.8747272</c:v>
                </c:pt>
                <c:pt idx="1023">
                  <c:v>324.33076190000003</c:v>
                </c:pt>
                <c:pt idx="1024">
                  <c:v>321.0836893</c:v>
                </c:pt>
                <c:pt idx="1025">
                  <c:v>321.38411649999921</c:v>
                </c:pt>
                <c:pt idx="1026">
                  <c:v>320.99609679999884</c:v>
                </c:pt>
                <c:pt idx="1027">
                  <c:v>321.16974520000002</c:v>
                </c:pt>
                <c:pt idx="1028">
                  <c:v>319.54774559999998</c:v>
                </c:pt>
                <c:pt idx="1029">
                  <c:v>316.70867010000001</c:v>
                </c:pt>
                <c:pt idx="1030">
                  <c:v>315.54384240000002</c:v>
                </c:pt>
                <c:pt idx="1031">
                  <c:v>315.26416080000001</c:v>
                </c:pt>
                <c:pt idx="1032">
                  <c:v>315.92802039999964</c:v>
                </c:pt>
                <c:pt idx="1033">
                  <c:v>315.90343299999921</c:v>
                </c:pt>
                <c:pt idx="1034">
                  <c:v>317.99028799999934</c:v>
                </c:pt>
                <c:pt idx="1035">
                  <c:v>317.73903559999934</c:v>
                </c:pt>
                <c:pt idx="1036">
                  <c:v>318.46666869999996</c:v>
                </c:pt>
                <c:pt idx="1037">
                  <c:v>319.5608077</c:v>
                </c:pt>
                <c:pt idx="1038">
                  <c:v>320.50204380000002</c:v>
                </c:pt>
                <c:pt idx="1039">
                  <c:v>323.05836429999999</c:v>
                </c:pt>
                <c:pt idx="1040">
                  <c:v>323.47865510000003</c:v>
                </c:pt>
                <c:pt idx="1041">
                  <c:v>321.93656449999884</c:v>
                </c:pt>
                <c:pt idx="1042">
                  <c:v>322.75025360000001</c:v>
                </c:pt>
                <c:pt idx="1043">
                  <c:v>324.03801829999884</c:v>
                </c:pt>
                <c:pt idx="1044">
                  <c:v>324.1747856000008</c:v>
                </c:pt>
                <c:pt idx="1045">
                  <c:v>326.60509570000005</c:v>
                </c:pt>
                <c:pt idx="1046">
                  <c:v>327.00925100000001</c:v>
                </c:pt>
                <c:pt idx="1047">
                  <c:v>327.63085100000001</c:v>
                </c:pt>
                <c:pt idx="1048">
                  <c:v>330.97934659999999</c:v>
                </c:pt>
                <c:pt idx="1049">
                  <c:v>331.5187324999992</c:v>
                </c:pt>
                <c:pt idx="1050">
                  <c:v>330.33008569999998</c:v>
                </c:pt>
                <c:pt idx="1051">
                  <c:v>330.19485509999998</c:v>
                </c:pt>
                <c:pt idx="1052">
                  <c:v>330.99625039999916</c:v>
                </c:pt>
                <c:pt idx="1053">
                  <c:v>332.53219410000003</c:v>
                </c:pt>
                <c:pt idx="1054">
                  <c:v>333.14841560000002</c:v>
                </c:pt>
                <c:pt idx="1055">
                  <c:v>331.39733229999933</c:v>
                </c:pt>
                <c:pt idx="1056">
                  <c:v>332.279405</c:v>
                </c:pt>
                <c:pt idx="1057">
                  <c:v>333.1130713</c:v>
                </c:pt>
                <c:pt idx="1058">
                  <c:v>334.15726710000087</c:v>
                </c:pt>
                <c:pt idx="1059">
                  <c:v>334.1027138</c:v>
                </c:pt>
                <c:pt idx="1060">
                  <c:v>335.85072380000008</c:v>
                </c:pt>
                <c:pt idx="1061">
                  <c:v>338.33712389999999</c:v>
                </c:pt>
                <c:pt idx="1062">
                  <c:v>336.91412849999921</c:v>
                </c:pt>
                <c:pt idx="1063">
                  <c:v>336.14423580000067</c:v>
                </c:pt>
                <c:pt idx="1064">
                  <c:v>335.08467280000002</c:v>
                </c:pt>
                <c:pt idx="1065">
                  <c:v>336.60524940000005</c:v>
                </c:pt>
                <c:pt idx="1066">
                  <c:v>336.54454930000031</c:v>
                </c:pt>
                <c:pt idx="1067">
                  <c:v>337.43891569999903</c:v>
                </c:pt>
                <c:pt idx="1068">
                  <c:v>336.80579030000001</c:v>
                </c:pt>
                <c:pt idx="1069">
                  <c:v>338.22417559999963</c:v>
                </c:pt>
                <c:pt idx="1070">
                  <c:v>338.3839936</c:v>
                </c:pt>
                <c:pt idx="1071">
                  <c:v>337.46964989999998</c:v>
                </c:pt>
                <c:pt idx="1072">
                  <c:v>338.76279310000001</c:v>
                </c:pt>
                <c:pt idx="1073">
                  <c:v>336.15652949999969</c:v>
                </c:pt>
                <c:pt idx="1074">
                  <c:v>335.17533879999934</c:v>
                </c:pt>
                <c:pt idx="1075">
                  <c:v>335.91526569999996</c:v>
                </c:pt>
                <c:pt idx="1076">
                  <c:v>336.83959799999963</c:v>
                </c:pt>
                <c:pt idx="1077">
                  <c:v>336.76583579999999</c:v>
                </c:pt>
                <c:pt idx="1078">
                  <c:v>335.46654579999921</c:v>
                </c:pt>
                <c:pt idx="1079">
                  <c:v>337.05012749999969</c:v>
                </c:pt>
                <c:pt idx="1080">
                  <c:v>338.93183149999908</c:v>
                </c:pt>
                <c:pt idx="1081">
                  <c:v>336.75200539999997</c:v>
                </c:pt>
                <c:pt idx="1082">
                  <c:v>338.16578049999998</c:v>
                </c:pt>
                <c:pt idx="1083">
                  <c:v>341.47662659999969</c:v>
                </c:pt>
                <c:pt idx="1084">
                  <c:v>340.59916399999969</c:v>
                </c:pt>
                <c:pt idx="1085">
                  <c:v>339.25607769999999</c:v>
                </c:pt>
                <c:pt idx="1086">
                  <c:v>338.83501859999927</c:v>
                </c:pt>
                <c:pt idx="1087">
                  <c:v>339.17002179999997</c:v>
                </c:pt>
                <c:pt idx="1088">
                  <c:v>338.60758520000002</c:v>
                </c:pt>
                <c:pt idx="1089">
                  <c:v>338.86498450000067</c:v>
                </c:pt>
                <c:pt idx="1090">
                  <c:v>341.41592649999927</c:v>
                </c:pt>
                <c:pt idx="1091">
                  <c:v>343.34680520000001</c:v>
                </c:pt>
                <c:pt idx="1092">
                  <c:v>341.89307559999969</c:v>
                </c:pt>
                <c:pt idx="1093">
                  <c:v>342.08516459999993</c:v>
                </c:pt>
                <c:pt idx="1094">
                  <c:v>341.86695150000003</c:v>
                </c:pt>
                <c:pt idx="1095">
                  <c:v>343.15087440000002</c:v>
                </c:pt>
                <c:pt idx="1096">
                  <c:v>341.74555119999997</c:v>
                </c:pt>
                <c:pt idx="1097">
                  <c:v>341.41976829999999</c:v>
                </c:pt>
                <c:pt idx="1098">
                  <c:v>342.8081876</c:v>
                </c:pt>
                <c:pt idx="1099">
                  <c:v>340.46854349999921</c:v>
                </c:pt>
                <c:pt idx="1100">
                  <c:v>341.568061</c:v>
                </c:pt>
                <c:pt idx="1101">
                  <c:v>345.81553309999993</c:v>
                </c:pt>
                <c:pt idx="1102">
                  <c:v>346.1505363</c:v>
                </c:pt>
                <c:pt idx="1103">
                  <c:v>343.57347019999997</c:v>
                </c:pt>
                <c:pt idx="1104">
                  <c:v>346.3372468</c:v>
                </c:pt>
                <c:pt idx="1105">
                  <c:v>351.12717830000003</c:v>
                </c:pt>
                <c:pt idx="1106">
                  <c:v>350.01920889999997</c:v>
                </c:pt>
                <c:pt idx="1107">
                  <c:v>352.11605249999963</c:v>
                </c:pt>
                <c:pt idx="1108">
                  <c:v>350.45179329999934</c:v>
                </c:pt>
                <c:pt idx="1109">
                  <c:v>352.39419739999994</c:v>
                </c:pt>
                <c:pt idx="1110">
                  <c:v>350.97734889999964</c:v>
                </c:pt>
                <c:pt idx="1111">
                  <c:v>351.36229520000001</c:v>
                </c:pt>
                <c:pt idx="1112">
                  <c:v>351.62968310000093</c:v>
                </c:pt>
                <c:pt idx="1113">
                  <c:v>347.94234260000002</c:v>
                </c:pt>
                <c:pt idx="1114">
                  <c:v>348.8735901</c:v>
                </c:pt>
                <c:pt idx="1115">
                  <c:v>347.65574579999998</c:v>
                </c:pt>
                <c:pt idx="1116">
                  <c:v>348.14979870000002</c:v>
                </c:pt>
                <c:pt idx="1117">
                  <c:v>343.87620249999969</c:v>
                </c:pt>
                <c:pt idx="1118">
                  <c:v>348.87435839999995</c:v>
                </c:pt>
                <c:pt idx="1119">
                  <c:v>351.65042870000002</c:v>
                </c:pt>
                <c:pt idx="1120">
                  <c:v>354.97049509999999</c:v>
                </c:pt>
                <c:pt idx="1121">
                  <c:v>355.34698959999997</c:v>
                </c:pt>
                <c:pt idx="1122">
                  <c:v>356.36506129999998</c:v>
                </c:pt>
                <c:pt idx="1123">
                  <c:v>356.37351319999999</c:v>
                </c:pt>
                <c:pt idx="1124">
                  <c:v>355.13261819999997</c:v>
                </c:pt>
                <c:pt idx="1125">
                  <c:v>354.58170699999908</c:v>
                </c:pt>
                <c:pt idx="1126">
                  <c:v>352.92052129999934</c:v>
                </c:pt>
                <c:pt idx="1127">
                  <c:v>354.6262716</c:v>
                </c:pt>
                <c:pt idx="1128">
                  <c:v>357.63208040000001</c:v>
                </c:pt>
                <c:pt idx="1129">
                  <c:v>360.02550939999969</c:v>
                </c:pt>
                <c:pt idx="1130">
                  <c:v>358.23908170000004</c:v>
                </c:pt>
                <c:pt idx="1131">
                  <c:v>357.30399240000003</c:v>
                </c:pt>
                <c:pt idx="1132">
                  <c:v>358.02855209999933</c:v>
                </c:pt>
                <c:pt idx="1133">
                  <c:v>359.27636229999933</c:v>
                </c:pt>
                <c:pt idx="1134">
                  <c:v>359.46845130000003</c:v>
                </c:pt>
                <c:pt idx="1135">
                  <c:v>361.93641089999909</c:v>
                </c:pt>
                <c:pt idx="1136">
                  <c:v>361.18726370000002</c:v>
                </c:pt>
                <c:pt idx="1137">
                  <c:v>357.81802260000001</c:v>
                </c:pt>
                <c:pt idx="1138">
                  <c:v>360.02704610000001</c:v>
                </c:pt>
                <c:pt idx="1139">
                  <c:v>363.31637829999914</c:v>
                </c:pt>
                <c:pt idx="1140">
                  <c:v>364.2898854</c:v>
                </c:pt>
                <c:pt idx="1141">
                  <c:v>366.11703599999993</c:v>
                </c:pt>
                <c:pt idx="1142">
                  <c:v>368.04637799999921</c:v>
                </c:pt>
                <c:pt idx="1143">
                  <c:v>368.04330449999969</c:v>
                </c:pt>
                <c:pt idx="1144">
                  <c:v>367.9111472999989</c:v>
                </c:pt>
                <c:pt idx="1145">
                  <c:v>365.84734300000002</c:v>
                </c:pt>
                <c:pt idx="1146">
                  <c:v>371.19125919999999</c:v>
                </c:pt>
                <c:pt idx="1147">
                  <c:v>374.46599259999999</c:v>
                </c:pt>
                <c:pt idx="1148">
                  <c:v>378.47143249999908</c:v>
                </c:pt>
                <c:pt idx="1149">
                  <c:v>378.6404708000008</c:v>
                </c:pt>
                <c:pt idx="1150">
                  <c:v>377.19749819999998</c:v>
                </c:pt>
                <c:pt idx="1151">
                  <c:v>376.37843069999997</c:v>
                </c:pt>
                <c:pt idx="1152">
                  <c:v>377.53096470000003</c:v>
                </c:pt>
                <c:pt idx="1153">
                  <c:v>377.38651379999908</c:v>
                </c:pt>
                <c:pt idx="1154">
                  <c:v>374.54052309999997</c:v>
                </c:pt>
                <c:pt idx="1155">
                  <c:v>373.84208750000067</c:v>
                </c:pt>
                <c:pt idx="1156">
                  <c:v>376.91320649999921</c:v>
                </c:pt>
                <c:pt idx="1157">
                  <c:v>376.57205639999995</c:v>
                </c:pt>
                <c:pt idx="1158">
                  <c:v>375.42413249999896</c:v>
                </c:pt>
                <c:pt idx="1159">
                  <c:v>369.13974860000002</c:v>
                </c:pt>
                <c:pt idx="1160">
                  <c:v>369.4724468</c:v>
                </c:pt>
                <c:pt idx="1161">
                  <c:v>368.38368630000002</c:v>
                </c:pt>
                <c:pt idx="1162">
                  <c:v>368.77631619999903</c:v>
                </c:pt>
                <c:pt idx="1163">
                  <c:v>365.54384240000002</c:v>
                </c:pt>
                <c:pt idx="1164">
                  <c:v>362.88840399999964</c:v>
                </c:pt>
                <c:pt idx="1165">
                  <c:v>357.88717459999964</c:v>
                </c:pt>
                <c:pt idx="1166">
                  <c:v>356.16067859999998</c:v>
                </c:pt>
                <c:pt idx="1167">
                  <c:v>358.64707870000001</c:v>
                </c:pt>
                <c:pt idx="1168">
                  <c:v>356.22983069999998</c:v>
                </c:pt>
                <c:pt idx="1169">
                  <c:v>353.5021668</c:v>
                </c:pt>
                <c:pt idx="1170">
                  <c:v>354.43034079999927</c:v>
                </c:pt>
                <c:pt idx="1171">
                  <c:v>352.7599348</c:v>
                </c:pt>
                <c:pt idx="1172">
                  <c:v>345.08713159999934</c:v>
                </c:pt>
                <c:pt idx="1173">
                  <c:v>343.7302147999992</c:v>
                </c:pt>
                <c:pt idx="1174">
                  <c:v>339.26760300000001</c:v>
                </c:pt>
                <c:pt idx="1175">
                  <c:v>348.0222516</c:v>
                </c:pt>
                <c:pt idx="1176">
                  <c:v>348.96886619999998</c:v>
                </c:pt>
                <c:pt idx="1177">
                  <c:v>347.18397519999996</c:v>
                </c:pt>
                <c:pt idx="1178">
                  <c:v>349.57970929999999</c:v>
                </c:pt>
                <c:pt idx="1179">
                  <c:v>340.13354029999999</c:v>
                </c:pt>
                <c:pt idx="1180">
                  <c:v>337.91299139999995</c:v>
                </c:pt>
                <c:pt idx="1181">
                  <c:v>331.05771889999994</c:v>
                </c:pt>
                <c:pt idx="1182">
                  <c:v>335.01936260000002</c:v>
                </c:pt>
                <c:pt idx="1183">
                  <c:v>337.28754959999969</c:v>
                </c:pt>
                <c:pt idx="1184">
                  <c:v>342.39558039999997</c:v>
                </c:pt>
                <c:pt idx="1185">
                  <c:v>346.59695119999969</c:v>
                </c:pt>
                <c:pt idx="1186">
                  <c:v>344.6338015</c:v>
                </c:pt>
                <c:pt idx="1187">
                  <c:v>344.5454406000008</c:v>
                </c:pt>
                <c:pt idx="1188">
                  <c:v>341.07170299999933</c:v>
                </c:pt>
                <c:pt idx="1189">
                  <c:v>343.39674829999933</c:v>
                </c:pt>
                <c:pt idx="1190">
                  <c:v>345.03949349999999</c:v>
                </c:pt>
                <c:pt idx="1191">
                  <c:v>340.08590219999996</c:v>
                </c:pt>
                <c:pt idx="1192">
                  <c:v>342.31029289999998</c:v>
                </c:pt>
                <c:pt idx="1193">
                  <c:v>344.73522449999933</c:v>
                </c:pt>
                <c:pt idx="1194">
                  <c:v>354.14835419999997</c:v>
                </c:pt>
                <c:pt idx="1195">
                  <c:v>353.07419249999964</c:v>
                </c:pt>
                <c:pt idx="1196">
                  <c:v>352.69001439999994</c:v>
                </c:pt>
                <c:pt idx="1197">
                  <c:v>351.94240400000001</c:v>
                </c:pt>
                <c:pt idx="1198">
                  <c:v>349.92316439999928</c:v>
                </c:pt>
                <c:pt idx="1199">
                  <c:v>351.93087869999999</c:v>
                </c:pt>
                <c:pt idx="1200">
                  <c:v>352.190583</c:v>
                </c:pt>
                <c:pt idx="1201">
                  <c:v>354.79223649999921</c:v>
                </c:pt>
                <c:pt idx="1202">
                  <c:v>359.17801269999995</c:v>
                </c:pt>
                <c:pt idx="1203">
                  <c:v>358.67781300000001</c:v>
                </c:pt>
                <c:pt idx="1204">
                  <c:v>353.75188250000002</c:v>
                </c:pt>
                <c:pt idx="1205">
                  <c:v>354.83603279999915</c:v>
                </c:pt>
                <c:pt idx="1206">
                  <c:v>352.02845989999969</c:v>
                </c:pt>
                <c:pt idx="1207">
                  <c:v>350.96275009999999</c:v>
                </c:pt>
                <c:pt idx="1208">
                  <c:v>347.00648489999998</c:v>
                </c:pt>
                <c:pt idx="1209">
                  <c:v>350.14368260000117</c:v>
                </c:pt>
                <c:pt idx="1210">
                  <c:v>349.77794510000001</c:v>
                </c:pt>
                <c:pt idx="1211">
                  <c:v>351.68730979999964</c:v>
                </c:pt>
                <c:pt idx="1212">
                  <c:v>350.78525989999969</c:v>
                </c:pt>
                <c:pt idx="1213">
                  <c:v>349.95313029999915</c:v>
                </c:pt>
                <c:pt idx="1214">
                  <c:v>351.64351349999993</c:v>
                </c:pt>
                <c:pt idx="1215">
                  <c:v>351.69806679999999</c:v>
                </c:pt>
                <c:pt idx="1216">
                  <c:v>352.7906691</c:v>
                </c:pt>
                <c:pt idx="1217">
                  <c:v>353.46067549999964</c:v>
                </c:pt>
                <c:pt idx="1218">
                  <c:v>352.82447670000005</c:v>
                </c:pt>
                <c:pt idx="1219">
                  <c:v>350.69689889999995</c:v>
                </c:pt>
                <c:pt idx="1220">
                  <c:v>348.78907089999996</c:v>
                </c:pt>
                <c:pt idx="1221">
                  <c:v>342.20272310000001</c:v>
                </c:pt>
                <c:pt idx="1222">
                  <c:v>335.91526569999996</c:v>
                </c:pt>
                <c:pt idx="1223">
                  <c:v>334.07658969999994</c:v>
                </c:pt>
                <c:pt idx="1224">
                  <c:v>331.15760520000032</c:v>
                </c:pt>
                <c:pt idx="1225">
                  <c:v>332.29323539999928</c:v>
                </c:pt>
                <c:pt idx="1226">
                  <c:v>331.65934170000008</c:v>
                </c:pt>
                <c:pt idx="1227">
                  <c:v>325.31041579999999</c:v>
                </c:pt>
                <c:pt idx="1228">
                  <c:v>325.3472969</c:v>
                </c:pt>
                <c:pt idx="1229">
                  <c:v>330.90635279999884</c:v>
                </c:pt>
                <c:pt idx="1230">
                  <c:v>331.74462920000002</c:v>
                </c:pt>
                <c:pt idx="1231">
                  <c:v>333.88373239999999</c:v>
                </c:pt>
                <c:pt idx="1232">
                  <c:v>333.06773829999969</c:v>
                </c:pt>
                <c:pt idx="1233">
                  <c:v>330.190245</c:v>
                </c:pt>
                <c:pt idx="1234">
                  <c:v>329.80990870000005</c:v>
                </c:pt>
                <c:pt idx="1235">
                  <c:v>331.39502719999996</c:v>
                </c:pt>
                <c:pt idx="1236">
                  <c:v>337.76393030000003</c:v>
                </c:pt>
                <c:pt idx="1237">
                  <c:v>340.00368809999998</c:v>
                </c:pt>
                <c:pt idx="1238">
                  <c:v>341.78473739999993</c:v>
                </c:pt>
                <c:pt idx="1239">
                  <c:v>342.61763530000002</c:v>
                </c:pt>
                <c:pt idx="1240">
                  <c:v>341.07323969999999</c:v>
                </c:pt>
                <c:pt idx="1241">
                  <c:v>347.18704860000008</c:v>
                </c:pt>
                <c:pt idx="1242">
                  <c:v>347.58044690000003</c:v>
                </c:pt>
                <c:pt idx="1243">
                  <c:v>348.20435199999969</c:v>
                </c:pt>
                <c:pt idx="1244">
                  <c:v>359.42465499999969</c:v>
                </c:pt>
                <c:pt idx="1245">
                  <c:v>359.2602268</c:v>
                </c:pt>
              </c:numCache>
            </c:numRef>
          </c:val>
        </c:ser>
        <c:ser>
          <c:idx val="1"/>
          <c:order val="1"/>
          <c:tx>
            <c:strRef>
              <c:f>Sheet1!$C$1</c:f>
              <c:strCache>
                <c:ptCount val="1"/>
                <c:pt idx="0">
                  <c:v>Benchmark 1</c:v>
                </c:pt>
              </c:strCache>
            </c:strRef>
          </c:tx>
          <c:spPr>
            <a:ln w="19050">
              <a:solidFill>
                <a:schemeClr val="accent2"/>
              </a:solidFill>
              <a:prstDash val="solid"/>
            </a:ln>
          </c:spPr>
          <c:marker>
            <c:symbol val="none"/>
          </c:marker>
          <c:cat>
            <c:strRef>
              <c:f>Sheet1!$A$2:$A$1247</c:f>
              <c:strCache>
                <c:ptCount val="1246"/>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an-10 </c:v>
                </c:pt>
                <c:pt idx="289">
                  <c:v>Jan-10 </c:v>
                </c:pt>
                <c:pt idx="290">
                  <c:v>Jan-10 </c:v>
                </c:pt>
                <c:pt idx="291">
                  <c:v>Jan-10 </c:v>
                </c:pt>
                <c:pt idx="292">
                  <c:v>Jan-10 </c:v>
                </c:pt>
                <c:pt idx="293">
                  <c:v>Jan-10 </c:v>
                </c:pt>
                <c:pt idx="294">
                  <c:v>Jan-10 </c:v>
                </c:pt>
                <c:pt idx="295">
                  <c:v>Jan-10 </c:v>
                </c:pt>
                <c:pt idx="296">
                  <c:v>Jan-10 </c:v>
                </c:pt>
                <c:pt idx="297">
                  <c:v>Jan-10 </c:v>
                </c:pt>
                <c:pt idx="298">
                  <c:v>Jan-10 </c:v>
                </c:pt>
                <c:pt idx="299">
                  <c:v>Jan-10 </c:v>
                </c:pt>
                <c:pt idx="300">
                  <c:v>Jan-10 </c:v>
                </c:pt>
                <c:pt idx="301">
                  <c:v>Jan-10 </c:v>
                </c:pt>
                <c:pt idx="302">
                  <c:v>Jan-10 </c:v>
                </c:pt>
                <c:pt idx="303">
                  <c:v>Jan-10 </c:v>
                </c:pt>
                <c:pt idx="304">
                  <c:v>Jan-10 </c:v>
                </c:pt>
                <c:pt idx="305">
                  <c:v>Jan-10 </c:v>
                </c:pt>
                <c:pt idx="306">
                  <c:v>Jan-10 </c:v>
                </c:pt>
                <c:pt idx="307">
                  <c:v>Jan-10 </c:v>
                </c:pt>
                <c:pt idx="308">
                  <c:v>Feb-10 </c:v>
                </c:pt>
                <c:pt idx="309">
                  <c:v>Feb-10 </c:v>
                </c:pt>
                <c:pt idx="310">
                  <c:v>Feb-10 </c:v>
                </c:pt>
                <c:pt idx="311">
                  <c:v>Feb-10 </c:v>
                </c:pt>
                <c:pt idx="312">
                  <c:v>Feb-10 </c:v>
                </c:pt>
                <c:pt idx="313">
                  <c:v>Feb-10 </c:v>
                </c:pt>
                <c:pt idx="314">
                  <c:v>Feb-10 </c:v>
                </c:pt>
                <c:pt idx="315">
                  <c:v>Feb-10 </c:v>
                </c:pt>
                <c:pt idx="316">
                  <c:v>Feb-10 </c:v>
                </c:pt>
                <c:pt idx="317">
                  <c:v>Feb-10 </c:v>
                </c:pt>
                <c:pt idx="318">
                  <c:v>Feb-10 </c:v>
                </c:pt>
                <c:pt idx="319">
                  <c:v>Feb-10 </c:v>
                </c:pt>
                <c:pt idx="320">
                  <c:v>Feb-10 </c:v>
                </c:pt>
                <c:pt idx="321">
                  <c:v>Feb-10 </c:v>
                </c:pt>
                <c:pt idx="322">
                  <c:v>Feb-10 </c:v>
                </c:pt>
                <c:pt idx="323">
                  <c:v>Feb-10 </c:v>
                </c:pt>
                <c:pt idx="324">
                  <c:v>Feb-10 </c:v>
                </c:pt>
                <c:pt idx="325">
                  <c:v>Feb-10 </c:v>
                </c:pt>
                <c:pt idx="326">
                  <c:v>Feb-10 </c:v>
                </c:pt>
                <c:pt idx="327">
                  <c:v>Feb-10 </c:v>
                </c:pt>
                <c:pt idx="328">
                  <c:v>Mar-10 </c:v>
                </c:pt>
                <c:pt idx="329">
                  <c:v>Mar-10 </c:v>
                </c:pt>
                <c:pt idx="330">
                  <c:v>Mar-10 </c:v>
                </c:pt>
                <c:pt idx="331">
                  <c:v>Mar-10 </c:v>
                </c:pt>
                <c:pt idx="332">
                  <c:v>Mar-10 </c:v>
                </c:pt>
                <c:pt idx="333">
                  <c:v>Mar-10 </c:v>
                </c:pt>
                <c:pt idx="334">
                  <c:v>Mar-10 </c:v>
                </c:pt>
                <c:pt idx="335">
                  <c:v>Mar-10 </c:v>
                </c:pt>
                <c:pt idx="336">
                  <c:v>Mar-10 </c:v>
                </c:pt>
                <c:pt idx="337">
                  <c:v>Mar-10 </c:v>
                </c:pt>
                <c:pt idx="338">
                  <c:v>Mar-10 </c:v>
                </c:pt>
                <c:pt idx="339">
                  <c:v>Mar-10 </c:v>
                </c:pt>
                <c:pt idx="340">
                  <c:v>Mar-10 </c:v>
                </c:pt>
                <c:pt idx="341">
                  <c:v>Mar-10 </c:v>
                </c:pt>
                <c:pt idx="342">
                  <c:v>Mar-10 </c:v>
                </c:pt>
                <c:pt idx="343">
                  <c:v>Mar-10 </c:v>
                </c:pt>
                <c:pt idx="344">
                  <c:v>Mar-10 </c:v>
                </c:pt>
                <c:pt idx="345">
                  <c:v>Mar-10 </c:v>
                </c:pt>
                <c:pt idx="346">
                  <c:v>Mar-10 </c:v>
                </c:pt>
                <c:pt idx="347">
                  <c:v>Mar-10 </c:v>
                </c:pt>
                <c:pt idx="348">
                  <c:v>Mar-10 </c:v>
                </c:pt>
                <c:pt idx="349">
                  <c:v>Mar-10 </c:v>
                </c:pt>
                <c:pt idx="350">
                  <c:v>Mar-10 </c:v>
                </c:pt>
                <c:pt idx="351">
                  <c:v>Apr-10</c:v>
                </c:pt>
                <c:pt idx="352">
                  <c:v>Apr-10</c:v>
                </c:pt>
                <c:pt idx="353">
                  <c:v>Apr-10</c:v>
                </c:pt>
                <c:pt idx="354">
                  <c:v>Apr-10</c:v>
                </c:pt>
                <c:pt idx="355">
                  <c:v>Apr-10</c:v>
                </c:pt>
                <c:pt idx="356">
                  <c:v>Apr-10</c:v>
                </c:pt>
                <c:pt idx="357">
                  <c:v>Apr-10</c:v>
                </c:pt>
                <c:pt idx="358">
                  <c:v>Apr-10</c:v>
                </c:pt>
                <c:pt idx="359">
                  <c:v>Apr-10</c:v>
                </c:pt>
                <c:pt idx="360">
                  <c:v>Apr-10</c:v>
                </c:pt>
                <c:pt idx="361">
                  <c:v>Apr-10</c:v>
                </c:pt>
                <c:pt idx="362">
                  <c:v>Apr-10</c:v>
                </c:pt>
                <c:pt idx="363">
                  <c:v>Apr-10</c:v>
                </c:pt>
                <c:pt idx="364">
                  <c:v>Apr-10</c:v>
                </c:pt>
                <c:pt idx="365">
                  <c:v>Apr-10</c:v>
                </c:pt>
                <c:pt idx="366">
                  <c:v>Apr-10</c:v>
                </c:pt>
                <c:pt idx="367">
                  <c:v>Apr-10</c:v>
                </c:pt>
                <c:pt idx="368">
                  <c:v>Apr-10</c:v>
                </c:pt>
                <c:pt idx="369">
                  <c:v>Apr-10</c:v>
                </c:pt>
                <c:pt idx="370">
                  <c:v>Apr-10</c:v>
                </c:pt>
                <c:pt idx="371">
                  <c:v>May-10 </c:v>
                </c:pt>
                <c:pt idx="372">
                  <c:v>May-10 </c:v>
                </c:pt>
                <c:pt idx="373">
                  <c:v>May-10 </c:v>
                </c:pt>
                <c:pt idx="374">
                  <c:v>May-10 </c:v>
                </c:pt>
                <c:pt idx="375">
                  <c:v>May-10 </c:v>
                </c:pt>
                <c:pt idx="376">
                  <c:v>May-10 </c:v>
                </c:pt>
                <c:pt idx="377">
                  <c:v>May-10 </c:v>
                </c:pt>
                <c:pt idx="378">
                  <c:v>May-10 </c:v>
                </c:pt>
                <c:pt idx="379">
                  <c:v>May-10 </c:v>
                </c:pt>
                <c:pt idx="380">
                  <c:v>May-10 </c:v>
                </c:pt>
                <c:pt idx="381">
                  <c:v>May-10 </c:v>
                </c:pt>
                <c:pt idx="382">
                  <c:v>May-10 </c:v>
                </c:pt>
                <c:pt idx="383">
                  <c:v>May-10 </c:v>
                </c:pt>
                <c:pt idx="384">
                  <c:v>May-10 </c:v>
                </c:pt>
                <c:pt idx="385">
                  <c:v>May-10 </c:v>
                </c:pt>
                <c:pt idx="386">
                  <c:v>May-10 </c:v>
                </c:pt>
                <c:pt idx="387">
                  <c:v>May-10 </c:v>
                </c:pt>
                <c:pt idx="388">
                  <c:v>May-10 </c:v>
                </c:pt>
                <c:pt idx="389">
                  <c:v>May-10 </c:v>
                </c:pt>
                <c:pt idx="390">
                  <c:v>May-10 </c:v>
                </c:pt>
                <c:pt idx="391">
                  <c:v>May-10 </c:v>
                </c:pt>
                <c:pt idx="392">
                  <c:v>Jun-10 </c:v>
                </c:pt>
                <c:pt idx="393">
                  <c:v>Jun-10 </c:v>
                </c:pt>
                <c:pt idx="394">
                  <c:v>Jun-10 </c:v>
                </c:pt>
                <c:pt idx="395">
                  <c:v>Jun-10 </c:v>
                </c:pt>
                <c:pt idx="396">
                  <c:v>Jun-10 </c:v>
                </c:pt>
                <c:pt idx="397">
                  <c:v>Jun-10 </c:v>
                </c:pt>
                <c:pt idx="398">
                  <c:v>Jun-10 </c:v>
                </c:pt>
                <c:pt idx="399">
                  <c:v>Jun-10 </c:v>
                </c:pt>
                <c:pt idx="400">
                  <c:v>Jun-10 </c:v>
                </c:pt>
                <c:pt idx="401">
                  <c:v>Jun-10 </c:v>
                </c:pt>
                <c:pt idx="402">
                  <c:v>Jun-10 </c:v>
                </c:pt>
                <c:pt idx="403">
                  <c:v>Jun-10 </c:v>
                </c:pt>
                <c:pt idx="404">
                  <c:v>Jun-10 </c:v>
                </c:pt>
                <c:pt idx="405">
                  <c:v>Jun-10 </c:v>
                </c:pt>
                <c:pt idx="406">
                  <c:v>Jun-10 </c:v>
                </c:pt>
                <c:pt idx="407">
                  <c:v>Jun-10 </c:v>
                </c:pt>
                <c:pt idx="408">
                  <c:v>Jun-10 </c:v>
                </c:pt>
                <c:pt idx="409">
                  <c:v>Jun-10 </c:v>
                </c:pt>
                <c:pt idx="410">
                  <c:v>Jun-10 </c:v>
                </c:pt>
                <c:pt idx="411">
                  <c:v>Jun-10 </c:v>
                </c:pt>
                <c:pt idx="412">
                  <c:v>Jun-10 </c:v>
                </c:pt>
                <c:pt idx="413">
                  <c:v>Jun-10 </c:v>
                </c:pt>
                <c:pt idx="414">
                  <c:v>Jul-10 A4432</c:v>
                </c:pt>
                <c:pt idx="415">
                  <c:v>Jul-10 2</c:v>
                </c:pt>
                <c:pt idx="416">
                  <c:v>Jul-10 2</c:v>
                </c:pt>
                <c:pt idx="417">
                  <c:v>Jul-10 2</c:v>
                </c:pt>
                <c:pt idx="418">
                  <c:v>Jul-10 2</c:v>
                </c:pt>
                <c:pt idx="419">
                  <c:v>Jul-10 2</c:v>
                </c:pt>
                <c:pt idx="420">
                  <c:v>Jul-10 2</c:v>
                </c:pt>
                <c:pt idx="421">
                  <c:v>Jul-10 2</c:v>
                </c:pt>
                <c:pt idx="422">
                  <c:v>Jul-10 2</c:v>
                </c:pt>
                <c:pt idx="423">
                  <c:v>Jul-10 2</c:v>
                </c:pt>
                <c:pt idx="424">
                  <c:v>Jul-10 2</c:v>
                </c:pt>
                <c:pt idx="425">
                  <c:v>Jul-10 2</c:v>
                </c:pt>
                <c:pt idx="426">
                  <c:v>Jul-10 2</c:v>
                </c:pt>
                <c:pt idx="427">
                  <c:v>Jul-10 2</c:v>
                </c:pt>
                <c:pt idx="428">
                  <c:v>Jul-10 2</c:v>
                </c:pt>
                <c:pt idx="429">
                  <c:v>Jul-10 2</c:v>
                </c:pt>
                <c:pt idx="430">
                  <c:v>Jul-10 2</c:v>
                </c:pt>
                <c:pt idx="431">
                  <c:v>Jul-10 2</c:v>
                </c:pt>
                <c:pt idx="432">
                  <c:v>Jul-10 2</c:v>
                </c:pt>
                <c:pt idx="433">
                  <c:v>Jul-10 2</c:v>
                </c:pt>
                <c:pt idx="434">
                  <c:v>Jul-10 2</c:v>
                </c:pt>
                <c:pt idx="435">
                  <c:v>Jul-10 2</c:v>
                </c:pt>
                <c:pt idx="436">
                  <c:v>Aug-10 </c:v>
                </c:pt>
                <c:pt idx="437">
                  <c:v>Aug-10 </c:v>
                </c:pt>
                <c:pt idx="438">
                  <c:v>Aug-10 </c:v>
                </c:pt>
                <c:pt idx="439">
                  <c:v>Aug-10 </c:v>
                </c:pt>
                <c:pt idx="440">
                  <c:v>Aug-10 </c:v>
                </c:pt>
                <c:pt idx="441">
                  <c:v>Aug-10 </c:v>
                </c:pt>
                <c:pt idx="442">
                  <c:v>Aug-10 </c:v>
                </c:pt>
                <c:pt idx="443">
                  <c:v>Aug-10 </c:v>
                </c:pt>
                <c:pt idx="444">
                  <c:v>Aug-10 </c:v>
                </c:pt>
                <c:pt idx="445">
                  <c:v>Aug-10 </c:v>
                </c:pt>
                <c:pt idx="446">
                  <c:v>Aug-10 </c:v>
                </c:pt>
                <c:pt idx="447">
                  <c:v>Aug-10 </c:v>
                </c:pt>
                <c:pt idx="448">
                  <c:v>Aug-10 </c:v>
                </c:pt>
                <c:pt idx="449">
                  <c:v>Aug-10 </c:v>
                </c:pt>
                <c:pt idx="450">
                  <c:v>Aug-10 </c:v>
                </c:pt>
                <c:pt idx="451">
                  <c:v>Aug-10 </c:v>
                </c:pt>
                <c:pt idx="452">
                  <c:v>Aug-10 </c:v>
                </c:pt>
                <c:pt idx="453">
                  <c:v>Aug-10 </c:v>
                </c:pt>
                <c:pt idx="454">
                  <c:v>Aug-10 </c:v>
                </c:pt>
                <c:pt idx="455">
                  <c:v>Aug-10 </c:v>
                </c:pt>
                <c:pt idx="456">
                  <c:v>Aug-10 </c:v>
                </c:pt>
                <c:pt idx="457">
                  <c:v>Aug-10 </c:v>
                </c:pt>
                <c:pt idx="458">
                  <c:v>Sep-10</c:v>
                </c:pt>
                <c:pt idx="459">
                  <c:v>Sep-10</c:v>
                </c:pt>
                <c:pt idx="460">
                  <c:v>Sep-10</c:v>
                </c:pt>
                <c:pt idx="461">
                  <c:v>Sep-10</c:v>
                </c:pt>
                <c:pt idx="462">
                  <c:v>Sep-10</c:v>
                </c:pt>
                <c:pt idx="463">
                  <c:v>Sep-10</c:v>
                </c:pt>
                <c:pt idx="464">
                  <c:v>Sep-10</c:v>
                </c:pt>
                <c:pt idx="465">
                  <c:v>Sep-10</c:v>
                </c:pt>
                <c:pt idx="466">
                  <c:v>Sep-10</c:v>
                </c:pt>
                <c:pt idx="467">
                  <c:v>Sep-10</c:v>
                </c:pt>
                <c:pt idx="468">
                  <c:v>Sep-10</c:v>
                </c:pt>
                <c:pt idx="469">
                  <c:v>Sep-10</c:v>
                </c:pt>
                <c:pt idx="470">
                  <c:v>Sep-10</c:v>
                </c:pt>
                <c:pt idx="471">
                  <c:v>Sep-10</c:v>
                </c:pt>
                <c:pt idx="472">
                  <c:v>Sep-10</c:v>
                </c:pt>
                <c:pt idx="473">
                  <c:v>Sep-10</c:v>
                </c:pt>
                <c:pt idx="474">
                  <c:v>Sep-10</c:v>
                </c:pt>
                <c:pt idx="475">
                  <c:v>Sep-10</c:v>
                </c:pt>
                <c:pt idx="476">
                  <c:v>Sep-10</c:v>
                </c:pt>
                <c:pt idx="477">
                  <c:v>Sep-10</c:v>
                </c:pt>
                <c:pt idx="478">
                  <c:v>Sep-10</c:v>
                </c:pt>
                <c:pt idx="479">
                  <c:v>Sep-10</c:v>
                </c:pt>
                <c:pt idx="480">
                  <c:v>Oct-10</c:v>
                </c:pt>
                <c:pt idx="481">
                  <c:v>Oct-10</c:v>
                </c:pt>
                <c:pt idx="482">
                  <c:v>Oct-10</c:v>
                </c:pt>
                <c:pt idx="483">
                  <c:v>Oct-10</c:v>
                </c:pt>
                <c:pt idx="484">
                  <c:v>Oct-10</c:v>
                </c:pt>
                <c:pt idx="485">
                  <c:v>Oct-10</c:v>
                </c:pt>
                <c:pt idx="486">
                  <c:v>Oct-10</c:v>
                </c:pt>
                <c:pt idx="487">
                  <c:v>Oct-10</c:v>
                </c:pt>
                <c:pt idx="488">
                  <c:v>Oct-10</c:v>
                </c:pt>
                <c:pt idx="489">
                  <c:v>Oct-10</c:v>
                </c:pt>
                <c:pt idx="490">
                  <c:v>Oct-10</c:v>
                </c:pt>
                <c:pt idx="491">
                  <c:v>Oct-10</c:v>
                </c:pt>
                <c:pt idx="492">
                  <c:v>Oct-10</c:v>
                </c:pt>
                <c:pt idx="493">
                  <c:v>Oct-10</c:v>
                </c:pt>
                <c:pt idx="494">
                  <c:v>Oct-10</c:v>
                </c:pt>
                <c:pt idx="495">
                  <c:v>Oct-10</c:v>
                </c:pt>
                <c:pt idx="496">
                  <c:v>Oct-10</c:v>
                </c:pt>
                <c:pt idx="497">
                  <c:v>Oct-10</c:v>
                </c:pt>
                <c:pt idx="498">
                  <c:v>Oct-10</c:v>
                </c:pt>
                <c:pt idx="499">
                  <c:v>Oct-10</c:v>
                </c:pt>
                <c:pt idx="500">
                  <c:v>Oct-10</c:v>
                </c:pt>
                <c:pt idx="501">
                  <c:v>Nov-10 </c:v>
                </c:pt>
                <c:pt idx="502">
                  <c:v>Nov-10 </c:v>
                </c:pt>
                <c:pt idx="503">
                  <c:v>Nov-10 </c:v>
                </c:pt>
                <c:pt idx="504">
                  <c:v>Nov-10 </c:v>
                </c:pt>
                <c:pt idx="505">
                  <c:v>Nov-10 </c:v>
                </c:pt>
                <c:pt idx="506">
                  <c:v>Nov-10 </c:v>
                </c:pt>
                <c:pt idx="507">
                  <c:v>Nov-10 </c:v>
                </c:pt>
                <c:pt idx="508">
                  <c:v>Nov-10 </c:v>
                </c:pt>
                <c:pt idx="509">
                  <c:v>Nov-10 </c:v>
                </c:pt>
                <c:pt idx="510">
                  <c:v>Nov-10 </c:v>
                </c:pt>
                <c:pt idx="511">
                  <c:v>Nov-10 </c:v>
                </c:pt>
                <c:pt idx="512">
                  <c:v>Nov-10 </c:v>
                </c:pt>
                <c:pt idx="513">
                  <c:v>Nov-10 </c:v>
                </c:pt>
                <c:pt idx="514">
                  <c:v>Nov-10 </c:v>
                </c:pt>
                <c:pt idx="515">
                  <c:v>Nov-10 </c:v>
                </c:pt>
                <c:pt idx="516">
                  <c:v>Nov-10 </c:v>
                </c:pt>
                <c:pt idx="517">
                  <c:v>Nov-10 </c:v>
                </c:pt>
                <c:pt idx="518">
                  <c:v>Nov-10 </c:v>
                </c:pt>
                <c:pt idx="519">
                  <c:v>Nov-10 </c:v>
                </c:pt>
                <c:pt idx="520">
                  <c:v>Nov-10 </c:v>
                </c:pt>
                <c:pt idx="521">
                  <c:v>Nov-10 </c:v>
                </c:pt>
                <c:pt idx="522">
                  <c:v>Nov-10 </c:v>
                </c:pt>
                <c:pt idx="523">
                  <c:v>Dec-10</c:v>
                </c:pt>
                <c:pt idx="524">
                  <c:v>Dec-10</c:v>
                </c:pt>
                <c:pt idx="525">
                  <c:v>Dec-10</c:v>
                </c:pt>
                <c:pt idx="526">
                  <c:v>Dec-10</c:v>
                </c:pt>
                <c:pt idx="527">
                  <c:v>Dec-10</c:v>
                </c:pt>
                <c:pt idx="528">
                  <c:v>Dec-10</c:v>
                </c:pt>
                <c:pt idx="529">
                  <c:v>Dec-10</c:v>
                </c:pt>
                <c:pt idx="530">
                  <c:v>Dec-10</c:v>
                </c:pt>
                <c:pt idx="531">
                  <c:v>Dec-10</c:v>
                </c:pt>
                <c:pt idx="532">
                  <c:v>Dec-10</c:v>
                </c:pt>
                <c:pt idx="533">
                  <c:v>Dec-10</c:v>
                </c:pt>
                <c:pt idx="534">
                  <c:v>Dec-10</c:v>
                </c:pt>
                <c:pt idx="535">
                  <c:v>Dec-10</c:v>
                </c:pt>
                <c:pt idx="536">
                  <c:v>Dec-10</c:v>
                </c:pt>
                <c:pt idx="537">
                  <c:v>Dec-10</c:v>
                </c:pt>
                <c:pt idx="538">
                  <c:v>Dec-10</c:v>
                </c:pt>
                <c:pt idx="539">
                  <c:v>Dec-10</c:v>
                </c:pt>
                <c:pt idx="540">
                  <c:v>Dec-10</c:v>
                </c:pt>
                <c:pt idx="541">
                  <c:v>Dec-10</c:v>
                </c:pt>
                <c:pt idx="542">
                  <c:v>Dec-10</c:v>
                </c:pt>
                <c:pt idx="543">
                  <c:v>Dec-10</c:v>
                </c:pt>
                <c:pt idx="544">
                  <c:v>Dec-10</c:v>
                </c:pt>
                <c:pt idx="545">
                  <c:v>Dec-10</c:v>
                </c:pt>
                <c:pt idx="546">
                  <c:v>Jan-11 </c:v>
                </c:pt>
                <c:pt idx="547">
                  <c:v>Jan-11 </c:v>
                </c:pt>
                <c:pt idx="548">
                  <c:v>Jan-11 </c:v>
                </c:pt>
                <c:pt idx="549">
                  <c:v>Jan-11 </c:v>
                </c:pt>
                <c:pt idx="550">
                  <c:v>Jan-11 </c:v>
                </c:pt>
                <c:pt idx="551">
                  <c:v>Jan-11 </c:v>
                </c:pt>
                <c:pt idx="552">
                  <c:v>Jan-11 </c:v>
                </c:pt>
                <c:pt idx="553">
                  <c:v>Jan-11 </c:v>
                </c:pt>
                <c:pt idx="554">
                  <c:v>Jan-11 </c:v>
                </c:pt>
                <c:pt idx="555">
                  <c:v>Jan-11 </c:v>
                </c:pt>
                <c:pt idx="556">
                  <c:v>Jan-11 </c:v>
                </c:pt>
                <c:pt idx="557">
                  <c:v>Jan-11 </c:v>
                </c:pt>
                <c:pt idx="558">
                  <c:v>Jan-11 </c:v>
                </c:pt>
                <c:pt idx="559">
                  <c:v>Jan-11 </c:v>
                </c:pt>
                <c:pt idx="560">
                  <c:v>Jan-11 </c:v>
                </c:pt>
                <c:pt idx="561">
                  <c:v>Jan-11 </c:v>
                </c:pt>
                <c:pt idx="562">
                  <c:v>Jan-11 </c:v>
                </c:pt>
                <c:pt idx="563">
                  <c:v>Jan-11 </c:v>
                </c:pt>
                <c:pt idx="564">
                  <c:v>Jan-11 </c:v>
                </c:pt>
                <c:pt idx="565">
                  <c:v>Jan-11 </c:v>
                </c:pt>
                <c:pt idx="566">
                  <c:v>Jan-11 </c:v>
                </c:pt>
                <c:pt idx="567">
                  <c:v>Feb-11 </c:v>
                </c:pt>
                <c:pt idx="568">
                  <c:v>Feb-11 </c:v>
                </c:pt>
                <c:pt idx="569">
                  <c:v>Feb-11 </c:v>
                </c:pt>
                <c:pt idx="570">
                  <c:v>Feb-11 </c:v>
                </c:pt>
                <c:pt idx="571">
                  <c:v>Feb-11 </c:v>
                </c:pt>
                <c:pt idx="572">
                  <c:v>Feb-11 </c:v>
                </c:pt>
                <c:pt idx="573">
                  <c:v>Feb-11 </c:v>
                </c:pt>
                <c:pt idx="574">
                  <c:v>Feb-11 </c:v>
                </c:pt>
                <c:pt idx="575">
                  <c:v>Feb-11 </c:v>
                </c:pt>
                <c:pt idx="576">
                  <c:v>Feb-11 </c:v>
                </c:pt>
                <c:pt idx="577">
                  <c:v>Feb-11 </c:v>
                </c:pt>
                <c:pt idx="578">
                  <c:v>Feb-11 </c:v>
                </c:pt>
                <c:pt idx="579">
                  <c:v>Feb-11 </c:v>
                </c:pt>
                <c:pt idx="580">
                  <c:v>Feb-11 </c:v>
                </c:pt>
                <c:pt idx="581">
                  <c:v>Feb-11 </c:v>
                </c:pt>
                <c:pt idx="582">
                  <c:v>Feb-11 </c:v>
                </c:pt>
                <c:pt idx="583">
                  <c:v>Feb-11 </c:v>
                </c:pt>
                <c:pt idx="584">
                  <c:v>Feb-11 </c:v>
                </c:pt>
                <c:pt idx="585">
                  <c:v>Feb-11 </c:v>
                </c:pt>
                <c:pt idx="586">
                  <c:v>Feb-11 </c:v>
                </c:pt>
                <c:pt idx="587">
                  <c:v>Mar-11 </c:v>
                </c:pt>
                <c:pt idx="588">
                  <c:v>Mar-11 </c:v>
                </c:pt>
                <c:pt idx="589">
                  <c:v>Mar-11 </c:v>
                </c:pt>
                <c:pt idx="590">
                  <c:v>Mar-11 </c:v>
                </c:pt>
                <c:pt idx="591">
                  <c:v>Mar-11 </c:v>
                </c:pt>
                <c:pt idx="592">
                  <c:v>Mar-11 </c:v>
                </c:pt>
                <c:pt idx="593">
                  <c:v>Mar-11 </c:v>
                </c:pt>
                <c:pt idx="594">
                  <c:v>Mar-11 </c:v>
                </c:pt>
                <c:pt idx="595">
                  <c:v>Mar-11 </c:v>
                </c:pt>
                <c:pt idx="596">
                  <c:v>Mar-11 </c:v>
                </c:pt>
                <c:pt idx="597">
                  <c:v>Mar-11 </c:v>
                </c:pt>
                <c:pt idx="598">
                  <c:v>Mar-11 </c:v>
                </c:pt>
                <c:pt idx="599">
                  <c:v>Mar-11 </c:v>
                </c:pt>
                <c:pt idx="600">
                  <c:v>Mar-11 </c:v>
                </c:pt>
                <c:pt idx="601">
                  <c:v>Mar-11 </c:v>
                </c:pt>
                <c:pt idx="602">
                  <c:v>Mar-11 </c:v>
                </c:pt>
                <c:pt idx="603">
                  <c:v>Mar-11 </c:v>
                </c:pt>
                <c:pt idx="604">
                  <c:v>Mar-11 </c:v>
                </c:pt>
                <c:pt idx="605">
                  <c:v>Mar-11 </c:v>
                </c:pt>
                <c:pt idx="606">
                  <c:v>Mar-11 </c:v>
                </c:pt>
                <c:pt idx="607">
                  <c:v>Mar-11 </c:v>
                </c:pt>
                <c:pt idx="608">
                  <c:v>Mar-11 </c:v>
                </c:pt>
                <c:pt idx="609">
                  <c:v>Mar-11 </c:v>
                </c:pt>
                <c:pt idx="610">
                  <c:v>Apr-11</c:v>
                </c:pt>
                <c:pt idx="611">
                  <c:v>Apr-11</c:v>
                </c:pt>
                <c:pt idx="612">
                  <c:v>Apr-11</c:v>
                </c:pt>
                <c:pt idx="613">
                  <c:v>Apr-11</c:v>
                </c:pt>
                <c:pt idx="614">
                  <c:v>Apr-11</c:v>
                </c:pt>
                <c:pt idx="615">
                  <c:v>Apr-11</c:v>
                </c:pt>
                <c:pt idx="616">
                  <c:v>Apr-11</c:v>
                </c:pt>
                <c:pt idx="617">
                  <c:v>Apr-11</c:v>
                </c:pt>
                <c:pt idx="618">
                  <c:v>Apr-11</c:v>
                </c:pt>
                <c:pt idx="619">
                  <c:v>Apr-11</c:v>
                </c:pt>
                <c:pt idx="620">
                  <c:v>Apr-11</c:v>
                </c:pt>
                <c:pt idx="621">
                  <c:v>Apr-11</c:v>
                </c:pt>
                <c:pt idx="622">
                  <c:v>Apr-11</c:v>
                </c:pt>
                <c:pt idx="623">
                  <c:v>Apr-11</c:v>
                </c:pt>
                <c:pt idx="624">
                  <c:v>Apr-11</c:v>
                </c:pt>
                <c:pt idx="625">
                  <c:v>Apr-11</c:v>
                </c:pt>
                <c:pt idx="626">
                  <c:v>Apr-11</c:v>
                </c:pt>
                <c:pt idx="627">
                  <c:v>Apr-11</c:v>
                </c:pt>
                <c:pt idx="628">
                  <c:v>Apr-11</c:v>
                </c:pt>
                <c:pt idx="629">
                  <c:v>May-11 </c:v>
                </c:pt>
                <c:pt idx="630">
                  <c:v>May-11 </c:v>
                </c:pt>
                <c:pt idx="631">
                  <c:v>May-11 </c:v>
                </c:pt>
                <c:pt idx="632">
                  <c:v>May-11 </c:v>
                </c:pt>
                <c:pt idx="633">
                  <c:v>May-11 </c:v>
                </c:pt>
                <c:pt idx="634">
                  <c:v>May-11 </c:v>
                </c:pt>
                <c:pt idx="635">
                  <c:v>May-11 </c:v>
                </c:pt>
                <c:pt idx="636">
                  <c:v>May-11 </c:v>
                </c:pt>
                <c:pt idx="637">
                  <c:v>May-11 </c:v>
                </c:pt>
                <c:pt idx="638">
                  <c:v>May-11 </c:v>
                </c:pt>
                <c:pt idx="639">
                  <c:v>May-11 </c:v>
                </c:pt>
                <c:pt idx="640">
                  <c:v>May-11 </c:v>
                </c:pt>
                <c:pt idx="641">
                  <c:v>May-11 </c:v>
                </c:pt>
                <c:pt idx="642">
                  <c:v>May-11 </c:v>
                </c:pt>
                <c:pt idx="643">
                  <c:v>May-11 </c:v>
                </c:pt>
                <c:pt idx="644">
                  <c:v>May-11 </c:v>
                </c:pt>
                <c:pt idx="645">
                  <c:v>May-11 </c:v>
                </c:pt>
                <c:pt idx="646">
                  <c:v>May-11 </c:v>
                </c:pt>
                <c:pt idx="647">
                  <c:v>May-11 </c:v>
                </c:pt>
                <c:pt idx="648">
                  <c:v>May-11 </c:v>
                </c:pt>
                <c:pt idx="649">
                  <c:v>May-11 </c:v>
                </c:pt>
                <c:pt idx="650">
                  <c:v>May-11 </c:v>
                </c:pt>
                <c:pt idx="651">
                  <c:v>Jun-11 </c:v>
                </c:pt>
                <c:pt idx="652">
                  <c:v>Jun-11 </c:v>
                </c:pt>
                <c:pt idx="653">
                  <c:v>Jun-11 </c:v>
                </c:pt>
                <c:pt idx="654">
                  <c:v>Jun-11 </c:v>
                </c:pt>
                <c:pt idx="655">
                  <c:v>Jun-11 </c:v>
                </c:pt>
                <c:pt idx="656">
                  <c:v>Jun-11 </c:v>
                </c:pt>
                <c:pt idx="657">
                  <c:v>Jun-11 </c:v>
                </c:pt>
                <c:pt idx="658">
                  <c:v>Jun-11 </c:v>
                </c:pt>
                <c:pt idx="659">
                  <c:v>Jun-11 </c:v>
                </c:pt>
                <c:pt idx="660">
                  <c:v>Jun-11 </c:v>
                </c:pt>
                <c:pt idx="661">
                  <c:v>Jun-11 </c:v>
                </c:pt>
                <c:pt idx="662">
                  <c:v>Jun-11 </c:v>
                </c:pt>
                <c:pt idx="663">
                  <c:v>Jun-11 </c:v>
                </c:pt>
                <c:pt idx="664">
                  <c:v>Jun-11 </c:v>
                </c:pt>
                <c:pt idx="665">
                  <c:v>Jun-11 </c:v>
                </c:pt>
                <c:pt idx="666">
                  <c:v>Jun-11 </c:v>
                </c:pt>
                <c:pt idx="667">
                  <c:v>Jun-11 </c:v>
                </c:pt>
                <c:pt idx="668">
                  <c:v>Jun-11 </c:v>
                </c:pt>
                <c:pt idx="669">
                  <c:v>Jun-11 </c:v>
                </c:pt>
                <c:pt idx="670">
                  <c:v>Jun-11 </c:v>
                </c:pt>
                <c:pt idx="671">
                  <c:v>Jun-11 </c:v>
                </c:pt>
                <c:pt idx="672">
                  <c:v>Jun-11 </c:v>
                </c:pt>
                <c:pt idx="673">
                  <c:v>Jul-11</c:v>
                </c:pt>
                <c:pt idx="674">
                  <c:v>Jul-11</c:v>
                </c:pt>
                <c:pt idx="675">
                  <c:v>Jul-11</c:v>
                </c:pt>
                <c:pt idx="676">
                  <c:v>Jul-11</c:v>
                </c:pt>
                <c:pt idx="677">
                  <c:v>Jul-11</c:v>
                </c:pt>
                <c:pt idx="678">
                  <c:v>Jul-11</c:v>
                </c:pt>
                <c:pt idx="679">
                  <c:v>Jul-11</c:v>
                </c:pt>
                <c:pt idx="680">
                  <c:v>Jul-11</c:v>
                </c:pt>
                <c:pt idx="681">
                  <c:v>Jul-11</c:v>
                </c:pt>
                <c:pt idx="682">
                  <c:v>Jul-11</c:v>
                </c:pt>
                <c:pt idx="683">
                  <c:v>Jul-11</c:v>
                </c:pt>
                <c:pt idx="684">
                  <c:v>Jul-11</c:v>
                </c:pt>
                <c:pt idx="685">
                  <c:v>Jul-11</c:v>
                </c:pt>
                <c:pt idx="686">
                  <c:v>Jul-11</c:v>
                </c:pt>
                <c:pt idx="687">
                  <c:v>Jul-11</c:v>
                </c:pt>
                <c:pt idx="688">
                  <c:v>Jul-11</c:v>
                </c:pt>
                <c:pt idx="689">
                  <c:v>Jul-11</c:v>
                </c:pt>
                <c:pt idx="690">
                  <c:v>Jul-11</c:v>
                </c:pt>
                <c:pt idx="691">
                  <c:v>Jul-11</c:v>
                </c:pt>
                <c:pt idx="692">
                  <c:v>Jul-11</c:v>
                </c:pt>
                <c:pt idx="693">
                  <c:v>Jul-11</c:v>
                </c:pt>
                <c:pt idx="694">
                  <c:v>Aug-11 </c:v>
                </c:pt>
                <c:pt idx="695">
                  <c:v>Aug-11 </c:v>
                </c:pt>
                <c:pt idx="696">
                  <c:v>Aug-11 </c:v>
                </c:pt>
                <c:pt idx="697">
                  <c:v>Aug-11 </c:v>
                </c:pt>
                <c:pt idx="698">
                  <c:v>Aug-11 </c:v>
                </c:pt>
                <c:pt idx="699">
                  <c:v>Aug-11 </c:v>
                </c:pt>
                <c:pt idx="700">
                  <c:v>Aug-11 </c:v>
                </c:pt>
                <c:pt idx="701">
                  <c:v>Aug-11 </c:v>
                </c:pt>
                <c:pt idx="702">
                  <c:v>Aug-11 </c:v>
                </c:pt>
                <c:pt idx="703">
                  <c:v>Aug-11 </c:v>
                </c:pt>
                <c:pt idx="704">
                  <c:v>Aug-11 </c:v>
                </c:pt>
                <c:pt idx="705">
                  <c:v>Aug-11 </c:v>
                </c:pt>
                <c:pt idx="706">
                  <c:v>Aug-11 </c:v>
                </c:pt>
                <c:pt idx="707">
                  <c:v>Aug-11 </c:v>
                </c:pt>
                <c:pt idx="708">
                  <c:v>Aug-11 </c:v>
                </c:pt>
                <c:pt idx="709">
                  <c:v>Aug-11 </c:v>
                </c:pt>
                <c:pt idx="710">
                  <c:v>Aug-11 </c:v>
                </c:pt>
                <c:pt idx="711">
                  <c:v>Aug-11 </c:v>
                </c:pt>
                <c:pt idx="712">
                  <c:v>Aug-11 </c:v>
                </c:pt>
                <c:pt idx="713">
                  <c:v>Aug-11 </c:v>
                </c:pt>
                <c:pt idx="714">
                  <c:v>Aug-11 </c:v>
                </c:pt>
                <c:pt idx="715">
                  <c:v>Aug-11 </c:v>
                </c:pt>
                <c:pt idx="716">
                  <c:v>Aug-11 </c:v>
                </c:pt>
                <c:pt idx="717">
                  <c:v>Sep-11</c:v>
                </c:pt>
                <c:pt idx="718">
                  <c:v>Sep-11</c:v>
                </c:pt>
                <c:pt idx="719">
                  <c:v>Sep-11</c:v>
                </c:pt>
                <c:pt idx="720">
                  <c:v>Sep-11</c:v>
                </c:pt>
                <c:pt idx="721">
                  <c:v>Sep-11</c:v>
                </c:pt>
                <c:pt idx="722">
                  <c:v>Sep-11</c:v>
                </c:pt>
                <c:pt idx="723">
                  <c:v>Sep-11</c:v>
                </c:pt>
                <c:pt idx="724">
                  <c:v>Sep-11</c:v>
                </c:pt>
                <c:pt idx="725">
                  <c:v>Sep-11</c:v>
                </c:pt>
                <c:pt idx="726">
                  <c:v>Sep-11</c:v>
                </c:pt>
                <c:pt idx="727">
                  <c:v>Sep-11</c:v>
                </c:pt>
                <c:pt idx="728">
                  <c:v>Sep-11</c:v>
                </c:pt>
                <c:pt idx="729">
                  <c:v>Sep-11</c:v>
                </c:pt>
                <c:pt idx="730">
                  <c:v>Sep-11</c:v>
                </c:pt>
                <c:pt idx="731">
                  <c:v>Sep-11</c:v>
                </c:pt>
                <c:pt idx="732">
                  <c:v>Sep-11</c:v>
                </c:pt>
                <c:pt idx="733">
                  <c:v>Sep-11</c:v>
                </c:pt>
                <c:pt idx="734">
                  <c:v>Sep-11</c:v>
                </c:pt>
                <c:pt idx="735">
                  <c:v>Sep-11</c:v>
                </c:pt>
                <c:pt idx="736">
                  <c:v>Sep-11</c:v>
                </c:pt>
                <c:pt idx="737">
                  <c:v>Sep-11</c:v>
                </c:pt>
                <c:pt idx="738">
                  <c:v>Sep-11</c:v>
                </c:pt>
                <c:pt idx="739">
                  <c:v>Oct-11</c:v>
                </c:pt>
                <c:pt idx="740">
                  <c:v>Oct-11</c:v>
                </c:pt>
                <c:pt idx="741">
                  <c:v>Oct-11</c:v>
                </c:pt>
                <c:pt idx="742">
                  <c:v>Oct-11</c:v>
                </c:pt>
                <c:pt idx="743">
                  <c:v>Oct-11</c:v>
                </c:pt>
                <c:pt idx="744">
                  <c:v>Oct-11</c:v>
                </c:pt>
                <c:pt idx="745">
                  <c:v>Oct-11</c:v>
                </c:pt>
                <c:pt idx="746">
                  <c:v>Oct-11</c:v>
                </c:pt>
                <c:pt idx="747">
                  <c:v>Oct-11</c:v>
                </c:pt>
                <c:pt idx="748">
                  <c:v>Oct-11</c:v>
                </c:pt>
                <c:pt idx="749">
                  <c:v>Oct-11</c:v>
                </c:pt>
                <c:pt idx="750">
                  <c:v>Oct-11</c:v>
                </c:pt>
                <c:pt idx="751">
                  <c:v>Oct-11</c:v>
                </c:pt>
                <c:pt idx="752">
                  <c:v>Oct-11</c:v>
                </c:pt>
                <c:pt idx="753">
                  <c:v>Oct-11</c:v>
                </c:pt>
                <c:pt idx="754">
                  <c:v>Oct-11</c:v>
                </c:pt>
                <c:pt idx="755">
                  <c:v>Oct-11</c:v>
                </c:pt>
                <c:pt idx="756">
                  <c:v>Oct-11</c:v>
                </c:pt>
                <c:pt idx="757">
                  <c:v>Oct-11</c:v>
                </c:pt>
                <c:pt idx="758">
                  <c:v>Oct-11</c:v>
                </c:pt>
                <c:pt idx="759">
                  <c:v>Oct-11</c:v>
                </c:pt>
                <c:pt idx="760">
                  <c:v>Nov-11 </c:v>
                </c:pt>
                <c:pt idx="761">
                  <c:v>Nov-11 </c:v>
                </c:pt>
                <c:pt idx="762">
                  <c:v>Nov-11 </c:v>
                </c:pt>
                <c:pt idx="763">
                  <c:v>Nov-11 </c:v>
                </c:pt>
                <c:pt idx="764">
                  <c:v>Nov-11 </c:v>
                </c:pt>
                <c:pt idx="765">
                  <c:v>Nov-11 </c:v>
                </c:pt>
                <c:pt idx="766">
                  <c:v>Nov-11 </c:v>
                </c:pt>
                <c:pt idx="767">
                  <c:v>Nov-11 </c:v>
                </c:pt>
                <c:pt idx="768">
                  <c:v>Nov-11 </c:v>
                </c:pt>
                <c:pt idx="769">
                  <c:v>Nov-11 </c:v>
                </c:pt>
                <c:pt idx="770">
                  <c:v>Nov-11 </c:v>
                </c:pt>
                <c:pt idx="771">
                  <c:v>Nov-11 </c:v>
                </c:pt>
                <c:pt idx="772">
                  <c:v>Nov-11 </c:v>
                </c:pt>
                <c:pt idx="773">
                  <c:v>Nov-11 </c:v>
                </c:pt>
                <c:pt idx="774">
                  <c:v>Nov-11 </c:v>
                </c:pt>
                <c:pt idx="775">
                  <c:v>Nov-11 </c:v>
                </c:pt>
                <c:pt idx="776">
                  <c:v>Nov-11 </c:v>
                </c:pt>
                <c:pt idx="777">
                  <c:v>Nov-11 </c:v>
                </c:pt>
                <c:pt idx="778">
                  <c:v>Nov-11 </c:v>
                </c:pt>
                <c:pt idx="779">
                  <c:v>Nov-11 </c:v>
                </c:pt>
                <c:pt idx="780">
                  <c:v>Nov-11 </c:v>
                </c:pt>
                <c:pt idx="781">
                  <c:v>Nov-11 </c:v>
                </c:pt>
                <c:pt idx="782">
                  <c:v>Dec-11</c:v>
                </c:pt>
                <c:pt idx="783">
                  <c:v>Dec-11</c:v>
                </c:pt>
                <c:pt idx="784">
                  <c:v>Dec-11</c:v>
                </c:pt>
                <c:pt idx="785">
                  <c:v>Dec-11</c:v>
                </c:pt>
                <c:pt idx="786">
                  <c:v>Dec-11</c:v>
                </c:pt>
                <c:pt idx="787">
                  <c:v>Dec-11</c:v>
                </c:pt>
                <c:pt idx="788">
                  <c:v>Dec-11</c:v>
                </c:pt>
                <c:pt idx="789">
                  <c:v>Dec-11</c:v>
                </c:pt>
                <c:pt idx="790">
                  <c:v>Dec-11</c:v>
                </c:pt>
                <c:pt idx="791">
                  <c:v>Dec-11</c:v>
                </c:pt>
                <c:pt idx="792">
                  <c:v>Dec-11</c:v>
                </c:pt>
                <c:pt idx="793">
                  <c:v>Dec-11</c:v>
                </c:pt>
                <c:pt idx="794">
                  <c:v>Dec-11</c:v>
                </c:pt>
                <c:pt idx="795">
                  <c:v>Dec-11</c:v>
                </c:pt>
                <c:pt idx="796">
                  <c:v>Dec-11</c:v>
                </c:pt>
                <c:pt idx="797">
                  <c:v>Dec-11</c:v>
                </c:pt>
                <c:pt idx="798">
                  <c:v>Dec-11</c:v>
                </c:pt>
                <c:pt idx="799">
                  <c:v>Dec-11</c:v>
                </c:pt>
                <c:pt idx="800">
                  <c:v>Dec-11</c:v>
                </c:pt>
                <c:pt idx="801">
                  <c:v>Dec-11</c:v>
                </c:pt>
                <c:pt idx="802">
                  <c:v>Dec-11</c:v>
                </c:pt>
                <c:pt idx="803">
                  <c:v>Jan-12 </c:v>
                </c:pt>
                <c:pt idx="804">
                  <c:v>Jan-12 </c:v>
                </c:pt>
                <c:pt idx="805">
                  <c:v>Jan-12 </c:v>
                </c:pt>
                <c:pt idx="806">
                  <c:v>Jan-12 </c:v>
                </c:pt>
                <c:pt idx="807">
                  <c:v>Jan-12 </c:v>
                </c:pt>
                <c:pt idx="808">
                  <c:v>Jan-12 </c:v>
                </c:pt>
                <c:pt idx="809">
                  <c:v>Jan-12 </c:v>
                </c:pt>
                <c:pt idx="810">
                  <c:v>Jan-12 </c:v>
                </c:pt>
                <c:pt idx="811">
                  <c:v>Jan-12 </c:v>
                </c:pt>
                <c:pt idx="812">
                  <c:v>Jan-12 </c:v>
                </c:pt>
                <c:pt idx="813">
                  <c:v>Jan-12 </c:v>
                </c:pt>
                <c:pt idx="814">
                  <c:v>Jan-12 </c:v>
                </c:pt>
                <c:pt idx="815">
                  <c:v>Jan-12 </c:v>
                </c:pt>
                <c:pt idx="816">
                  <c:v>Jan-12 </c:v>
                </c:pt>
                <c:pt idx="817">
                  <c:v>Jan-12 </c:v>
                </c:pt>
                <c:pt idx="818">
                  <c:v>Jan-12 </c:v>
                </c:pt>
                <c:pt idx="819">
                  <c:v>Jan-12 </c:v>
                </c:pt>
                <c:pt idx="820">
                  <c:v>Jan-12 </c:v>
                </c:pt>
                <c:pt idx="821">
                  <c:v>Jan-12 </c:v>
                </c:pt>
                <c:pt idx="822">
                  <c:v>Jan-12 </c:v>
                </c:pt>
                <c:pt idx="823">
                  <c:v>Jan-12 </c:v>
                </c:pt>
                <c:pt idx="824">
                  <c:v>Jan-12 </c:v>
                </c:pt>
                <c:pt idx="825">
                  <c:v>Feb-12 </c:v>
                </c:pt>
                <c:pt idx="826">
                  <c:v>Feb-12 </c:v>
                </c:pt>
                <c:pt idx="827">
                  <c:v>Feb-12 </c:v>
                </c:pt>
                <c:pt idx="828">
                  <c:v>Feb-12 </c:v>
                </c:pt>
                <c:pt idx="829">
                  <c:v>Feb-12 </c:v>
                </c:pt>
                <c:pt idx="830">
                  <c:v>Feb-12 </c:v>
                </c:pt>
                <c:pt idx="831">
                  <c:v>Feb-12 </c:v>
                </c:pt>
                <c:pt idx="832">
                  <c:v>Feb-12 </c:v>
                </c:pt>
                <c:pt idx="833">
                  <c:v>Feb-12 </c:v>
                </c:pt>
                <c:pt idx="834">
                  <c:v>Feb-12 </c:v>
                </c:pt>
                <c:pt idx="835">
                  <c:v>Feb-12 </c:v>
                </c:pt>
                <c:pt idx="836">
                  <c:v>Feb-12 </c:v>
                </c:pt>
                <c:pt idx="837">
                  <c:v>Feb-12 </c:v>
                </c:pt>
                <c:pt idx="838">
                  <c:v>Feb-12 </c:v>
                </c:pt>
                <c:pt idx="839">
                  <c:v>Feb-12 </c:v>
                </c:pt>
                <c:pt idx="840">
                  <c:v>Feb-12 </c:v>
                </c:pt>
                <c:pt idx="841">
                  <c:v>Feb-12 </c:v>
                </c:pt>
                <c:pt idx="842">
                  <c:v>Feb-12 </c:v>
                </c:pt>
                <c:pt idx="843">
                  <c:v>Feb-12 </c:v>
                </c:pt>
                <c:pt idx="844">
                  <c:v>Feb-12 </c:v>
                </c:pt>
                <c:pt idx="845">
                  <c:v>Feb-12 </c:v>
                </c:pt>
                <c:pt idx="846">
                  <c:v>Mar-12 </c:v>
                </c:pt>
                <c:pt idx="847">
                  <c:v>Mar-12 </c:v>
                </c:pt>
                <c:pt idx="848">
                  <c:v>Mar-12 </c:v>
                </c:pt>
                <c:pt idx="849">
                  <c:v>Mar-12 </c:v>
                </c:pt>
                <c:pt idx="850">
                  <c:v>Mar-12 </c:v>
                </c:pt>
                <c:pt idx="851">
                  <c:v>Mar-12 </c:v>
                </c:pt>
                <c:pt idx="852">
                  <c:v>Mar-12 </c:v>
                </c:pt>
                <c:pt idx="853">
                  <c:v>Mar-12 </c:v>
                </c:pt>
                <c:pt idx="854">
                  <c:v>Mar-12 </c:v>
                </c:pt>
                <c:pt idx="855">
                  <c:v>Mar-12 </c:v>
                </c:pt>
                <c:pt idx="856">
                  <c:v>Mar-12 </c:v>
                </c:pt>
                <c:pt idx="857">
                  <c:v>Mar-12 </c:v>
                </c:pt>
                <c:pt idx="858">
                  <c:v>Mar-12 </c:v>
                </c:pt>
                <c:pt idx="859">
                  <c:v>Mar-12 </c:v>
                </c:pt>
                <c:pt idx="860">
                  <c:v>Mar-12 </c:v>
                </c:pt>
                <c:pt idx="861">
                  <c:v>Mar-12 </c:v>
                </c:pt>
                <c:pt idx="862">
                  <c:v>Mar-12 </c:v>
                </c:pt>
                <c:pt idx="863">
                  <c:v>Mar-12 </c:v>
                </c:pt>
                <c:pt idx="864">
                  <c:v>Mar-12 </c:v>
                </c:pt>
                <c:pt idx="865">
                  <c:v>Mar-12 </c:v>
                </c:pt>
                <c:pt idx="866">
                  <c:v>Mar-12 </c:v>
                </c:pt>
                <c:pt idx="867">
                  <c:v>Mar-12 </c:v>
                </c:pt>
                <c:pt idx="868">
                  <c:v>Apr-12</c:v>
                </c:pt>
                <c:pt idx="869">
                  <c:v>Apr-12</c:v>
                </c:pt>
                <c:pt idx="870">
                  <c:v>Apr-12</c:v>
                </c:pt>
                <c:pt idx="871">
                  <c:v>Apr-12</c:v>
                </c:pt>
                <c:pt idx="872">
                  <c:v>Apr-12</c:v>
                </c:pt>
                <c:pt idx="873">
                  <c:v>Apr-12</c:v>
                </c:pt>
                <c:pt idx="874">
                  <c:v>Apr-12</c:v>
                </c:pt>
                <c:pt idx="875">
                  <c:v>Apr-12</c:v>
                </c:pt>
                <c:pt idx="876">
                  <c:v>Apr-12</c:v>
                </c:pt>
                <c:pt idx="877">
                  <c:v>Apr-12</c:v>
                </c:pt>
                <c:pt idx="878">
                  <c:v>Apr-12</c:v>
                </c:pt>
                <c:pt idx="879">
                  <c:v>Apr-12</c:v>
                </c:pt>
                <c:pt idx="880">
                  <c:v>Apr-12</c:v>
                </c:pt>
                <c:pt idx="881">
                  <c:v>Apr-12</c:v>
                </c:pt>
                <c:pt idx="882">
                  <c:v>Apr-12</c:v>
                </c:pt>
                <c:pt idx="883">
                  <c:v>Apr-12</c:v>
                </c:pt>
                <c:pt idx="884">
                  <c:v>Apr-12</c:v>
                </c:pt>
                <c:pt idx="885">
                  <c:v>Apr-12</c:v>
                </c:pt>
                <c:pt idx="886">
                  <c:v>Apr-12</c:v>
                </c:pt>
                <c:pt idx="887">
                  <c:v>May-12 </c:v>
                </c:pt>
                <c:pt idx="888">
                  <c:v>May-12 </c:v>
                </c:pt>
                <c:pt idx="889">
                  <c:v>May-12 </c:v>
                </c:pt>
                <c:pt idx="890">
                  <c:v>May-12 </c:v>
                </c:pt>
                <c:pt idx="891">
                  <c:v>May-12 </c:v>
                </c:pt>
                <c:pt idx="892">
                  <c:v>May-12 </c:v>
                </c:pt>
                <c:pt idx="893">
                  <c:v>May-12 </c:v>
                </c:pt>
                <c:pt idx="894">
                  <c:v>May-12 </c:v>
                </c:pt>
                <c:pt idx="895">
                  <c:v>May-12 </c:v>
                </c:pt>
                <c:pt idx="896">
                  <c:v>May-12 </c:v>
                </c:pt>
                <c:pt idx="897">
                  <c:v>May-12 </c:v>
                </c:pt>
                <c:pt idx="898">
                  <c:v>May-12 </c:v>
                </c:pt>
                <c:pt idx="899">
                  <c:v>May-12 </c:v>
                </c:pt>
                <c:pt idx="900">
                  <c:v>May-12 </c:v>
                </c:pt>
                <c:pt idx="901">
                  <c:v>May-12 </c:v>
                </c:pt>
                <c:pt idx="902">
                  <c:v>May-12 </c:v>
                </c:pt>
                <c:pt idx="903">
                  <c:v>May-12 </c:v>
                </c:pt>
                <c:pt idx="904">
                  <c:v>May-12 </c:v>
                </c:pt>
                <c:pt idx="905">
                  <c:v>May-12 </c:v>
                </c:pt>
                <c:pt idx="906">
                  <c:v>May-12 </c:v>
                </c:pt>
                <c:pt idx="907">
                  <c:v>May-12 </c:v>
                </c:pt>
                <c:pt idx="908">
                  <c:v>May-12 </c:v>
                </c:pt>
                <c:pt idx="909">
                  <c:v>May-12 </c:v>
                </c:pt>
                <c:pt idx="910">
                  <c:v>Jun-12 </c:v>
                </c:pt>
                <c:pt idx="911">
                  <c:v>Jun-12 </c:v>
                </c:pt>
                <c:pt idx="912">
                  <c:v>Jun-12 </c:v>
                </c:pt>
                <c:pt idx="913">
                  <c:v>Jun-12 </c:v>
                </c:pt>
                <c:pt idx="914">
                  <c:v>Jun-12 </c:v>
                </c:pt>
                <c:pt idx="915">
                  <c:v>Jun-12 </c:v>
                </c:pt>
                <c:pt idx="916">
                  <c:v>Jun-12 </c:v>
                </c:pt>
                <c:pt idx="917">
                  <c:v>Jun-12 </c:v>
                </c:pt>
                <c:pt idx="918">
                  <c:v>Jun-12 </c:v>
                </c:pt>
                <c:pt idx="919">
                  <c:v>Jun-12 </c:v>
                </c:pt>
                <c:pt idx="920">
                  <c:v>Jun-12 </c:v>
                </c:pt>
                <c:pt idx="921">
                  <c:v>Jun-12 </c:v>
                </c:pt>
                <c:pt idx="922">
                  <c:v>Jun-12 </c:v>
                </c:pt>
                <c:pt idx="923">
                  <c:v>Jun-12 </c:v>
                </c:pt>
                <c:pt idx="924">
                  <c:v>Jun-12 </c:v>
                </c:pt>
                <c:pt idx="925">
                  <c:v>Jun-12 </c:v>
                </c:pt>
                <c:pt idx="926">
                  <c:v>Jun-12 </c:v>
                </c:pt>
                <c:pt idx="927">
                  <c:v>Jun-12 </c:v>
                </c:pt>
                <c:pt idx="928">
                  <c:v>Jun-12 </c:v>
                </c:pt>
                <c:pt idx="929">
                  <c:v>Jun-12 </c:v>
                </c:pt>
                <c:pt idx="930">
                  <c:v>Jun-12 </c:v>
                </c:pt>
                <c:pt idx="931">
                  <c:v>Jul-12</c:v>
                </c:pt>
                <c:pt idx="932">
                  <c:v>Jul-12</c:v>
                </c:pt>
                <c:pt idx="933">
                  <c:v>Jul-12</c:v>
                </c:pt>
                <c:pt idx="934">
                  <c:v>Jul-12</c:v>
                </c:pt>
                <c:pt idx="935">
                  <c:v>Jul-12</c:v>
                </c:pt>
                <c:pt idx="936">
                  <c:v>Jul-12</c:v>
                </c:pt>
                <c:pt idx="937">
                  <c:v>Jul-12</c:v>
                </c:pt>
                <c:pt idx="938">
                  <c:v>Jul-12</c:v>
                </c:pt>
                <c:pt idx="939">
                  <c:v>Jul-12</c:v>
                </c:pt>
                <c:pt idx="940">
                  <c:v>Jul-12</c:v>
                </c:pt>
                <c:pt idx="941">
                  <c:v>Jul-12</c:v>
                </c:pt>
                <c:pt idx="942">
                  <c:v>Jul-12</c:v>
                </c:pt>
                <c:pt idx="943">
                  <c:v>Jul-12</c:v>
                </c:pt>
                <c:pt idx="944">
                  <c:v>Jul-12</c:v>
                </c:pt>
                <c:pt idx="945">
                  <c:v>Jul-12</c:v>
                </c:pt>
                <c:pt idx="946">
                  <c:v>Jul-12</c:v>
                </c:pt>
                <c:pt idx="947">
                  <c:v>Jul-12</c:v>
                </c:pt>
                <c:pt idx="948">
                  <c:v>Jul-12</c:v>
                </c:pt>
                <c:pt idx="949">
                  <c:v>Jul-12</c:v>
                </c:pt>
                <c:pt idx="950">
                  <c:v>Jul-12</c:v>
                </c:pt>
                <c:pt idx="951">
                  <c:v>Jul-12</c:v>
                </c:pt>
                <c:pt idx="952">
                  <c:v>Jul-12</c:v>
                </c:pt>
                <c:pt idx="953">
                  <c:v>Aug-12 </c:v>
                </c:pt>
                <c:pt idx="954">
                  <c:v>Aug-12 </c:v>
                </c:pt>
                <c:pt idx="955">
                  <c:v>Aug-12 </c:v>
                </c:pt>
                <c:pt idx="956">
                  <c:v>Aug-12 </c:v>
                </c:pt>
                <c:pt idx="957">
                  <c:v>Aug-12 </c:v>
                </c:pt>
                <c:pt idx="958">
                  <c:v>Aug-12 </c:v>
                </c:pt>
                <c:pt idx="959">
                  <c:v>Aug-12 </c:v>
                </c:pt>
                <c:pt idx="960">
                  <c:v>Aug-12 </c:v>
                </c:pt>
                <c:pt idx="961">
                  <c:v>Aug-12 </c:v>
                </c:pt>
                <c:pt idx="962">
                  <c:v>Aug-12 </c:v>
                </c:pt>
                <c:pt idx="963">
                  <c:v>Aug-12 </c:v>
                </c:pt>
                <c:pt idx="964">
                  <c:v>Aug-12 </c:v>
                </c:pt>
                <c:pt idx="965">
                  <c:v>Aug-12 </c:v>
                </c:pt>
                <c:pt idx="966">
                  <c:v>Aug-12 </c:v>
                </c:pt>
                <c:pt idx="967">
                  <c:v>Aug-12 </c:v>
                </c:pt>
                <c:pt idx="968">
                  <c:v>Aug-12 </c:v>
                </c:pt>
                <c:pt idx="969">
                  <c:v>Aug-12 </c:v>
                </c:pt>
                <c:pt idx="970">
                  <c:v>Aug-12 </c:v>
                </c:pt>
                <c:pt idx="971">
                  <c:v>Aug-12 </c:v>
                </c:pt>
                <c:pt idx="972">
                  <c:v>Aug-12 </c:v>
                </c:pt>
                <c:pt idx="973">
                  <c:v>Aug-12 </c:v>
                </c:pt>
                <c:pt idx="974">
                  <c:v>Aug-12 </c:v>
                </c:pt>
                <c:pt idx="975">
                  <c:v>Aug-12 </c:v>
                </c:pt>
                <c:pt idx="976">
                  <c:v>Sep-12</c:v>
                </c:pt>
                <c:pt idx="977">
                  <c:v>Sep-12</c:v>
                </c:pt>
                <c:pt idx="978">
                  <c:v>Sep-12</c:v>
                </c:pt>
                <c:pt idx="979">
                  <c:v>Sep-12</c:v>
                </c:pt>
                <c:pt idx="980">
                  <c:v>Sep-12</c:v>
                </c:pt>
                <c:pt idx="981">
                  <c:v>Sep-12</c:v>
                </c:pt>
                <c:pt idx="982">
                  <c:v>Sep-12</c:v>
                </c:pt>
                <c:pt idx="983">
                  <c:v>Sep-12</c:v>
                </c:pt>
                <c:pt idx="984">
                  <c:v>Sep-12</c:v>
                </c:pt>
                <c:pt idx="985">
                  <c:v>Sep-12</c:v>
                </c:pt>
                <c:pt idx="986">
                  <c:v>Sep-12</c:v>
                </c:pt>
                <c:pt idx="987">
                  <c:v>Sep-12</c:v>
                </c:pt>
                <c:pt idx="988">
                  <c:v>Sep-12</c:v>
                </c:pt>
                <c:pt idx="989">
                  <c:v>Sep-12</c:v>
                </c:pt>
                <c:pt idx="990">
                  <c:v>Sep-12</c:v>
                </c:pt>
                <c:pt idx="991">
                  <c:v>Sep-12</c:v>
                </c:pt>
                <c:pt idx="992">
                  <c:v>Sep-12</c:v>
                </c:pt>
                <c:pt idx="993">
                  <c:v>Sep-12</c:v>
                </c:pt>
                <c:pt idx="994">
                  <c:v>Sep-12</c:v>
                </c:pt>
                <c:pt idx="995">
                  <c:v>Sep-12</c:v>
                </c:pt>
                <c:pt idx="996">
                  <c:v>Oct-12</c:v>
                </c:pt>
                <c:pt idx="997">
                  <c:v>Oct-12</c:v>
                </c:pt>
                <c:pt idx="998">
                  <c:v>Oct-12</c:v>
                </c:pt>
                <c:pt idx="999">
                  <c:v>Oct-12</c:v>
                </c:pt>
                <c:pt idx="1000">
                  <c:v>Oct-12</c:v>
                </c:pt>
                <c:pt idx="1001">
                  <c:v>Oct-12</c:v>
                </c:pt>
                <c:pt idx="1002">
                  <c:v>Oct-12</c:v>
                </c:pt>
                <c:pt idx="1003">
                  <c:v>Oct-12</c:v>
                </c:pt>
                <c:pt idx="1004">
                  <c:v>Oct-12</c:v>
                </c:pt>
                <c:pt idx="1005">
                  <c:v>Oct-12</c:v>
                </c:pt>
                <c:pt idx="1006">
                  <c:v>Oct-12</c:v>
                </c:pt>
                <c:pt idx="1007">
                  <c:v>Oct-12</c:v>
                </c:pt>
                <c:pt idx="1008">
                  <c:v>Oct-12</c:v>
                </c:pt>
                <c:pt idx="1009">
                  <c:v>Oct-12</c:v>
                </c:pt>
                <c:pt idx="1010">
                  <c:v>Oct-12</c:v>
                </c:pt>
                <c:pt idx="1011">
                  <c:v>Oct-12</c:v>
                </c:pt>
                <c:pt idx="1012">
                  <c:v>Oct-12</c:v>
                </c:pt>
                <c:pt idx="1013">
                  <c:v>Oct-12</c:v>
                </c:pt>
                <c:pt idx="1014">
                  <c:v>Oct-12</c:v>
                </c:pt>
                <c:pt idx="1015">
                  <c:v>Oct-12</c:v>
                </c:pt>
                <c:pt idx="1016">
                  <c:v>Oct-12</c:v>
                </c:pt>
                <c:pt idx="1017">
                  <c:v>Oct-12</c:v>
                </c:pt>
                <c:pt idx="1018">
                  <c:v>Oct-12</c:v>
                </c:pt>
                <c:pt idx="1019">
                  <c:v>Nov-12 </c:v>
                </c:pt>
                <c:pt idx="1020">
                  <c:v>Nov-12 </c:v>
                </c:pt>
                <c:pt idx="1021">
                  <c:v>Nov-12 </c:v>
                </c:pt>
                <c:pt idx="1022">
                  <c:v>Nov-12 </c:v>
                </c:pt>
                <c:pt idx="1023">
                  <c:v>Nov-12 </c:v>
                </c:pt>
                <c:pt idx="1024">
                  <c:v>Nov-12 </c:v>
                </c:pt>
                <c:pt idx="1025">
                  <c:v>Nov-12 </c:v>
                </c:pt>
                <c:pt idx="1026">
                  <c:v>Nov-12 </c:v>
                </c:pt>
                <c:pt idx="1027">
                  <c:v>Nov-12 </c:v>
                </c:pt>
                <c:pt idx="1028">
                  <c:v>Nov-12 </c:v>
                </c:pt>
                <c:pt idx="1029">
                  <c:v>Nov-12 </c:v>
                </c:pt>
                <c:pt idx="1030">
                  <c:v>Nov-12 </c:v>
                </c:pt>
                <c:pt idx="1031">
                  <c:v>Nov-12 </c:v>
                </c:pt>
                <c:pt idx="1032">
                  <c:v>Nov-12 </c:v>
                </c:pt>
                <c:pt idx="1033">
                  <c:v>Nov-12 </c:v>
                </c:pt>
                <c:pt idx="1034">
                  <c:v>Nov-12 </c:v>
                </c:pt>
                <c:pt idx="1035">
                  <c:v>Nov-12 </c:v>
                </c:pt>
                <c:pt idx="1036">
                  <c:v>Nov-12 </c:v>
                </c:pt>
                <c:pt idx="1037">
                  <c:v>Nov-12 </c:v>
                </c:pt>
                <c:pt idx="1038">
                  <c:v>Nov-12 </c:v>
                </c:pt>
                <c:pt idx="1039">
                  <c:v>Nov-12 </c:v>
                </c:pt>
                <c:pt idx="1040">
                  <c:v>Nov-12 </c:v>
                </c:pt>
                <c:pt idx="1041">
                  <c:v>Dec-12</c:v>
                </c:pt>
                <c:pt idx="1042">
                  <c:v>Dec-12</c:v>
                </c:pt>
                <c:pt idx="1043">
                  <c:v>Dec-12</c:v>
                </c:pt>
                <c:pt idx="1044">
                  <c:v>Dec-12</c:v>
                </c:pt>
                <c:pt idx="1045">
                  <c:v>Dec-12</c:v>
                </c:pt>
                <c:pt idx="1046">
                  <c:v>Dec-12</c:v>
                </c:pt>
                <c:pt idx="1047">
                  <c:v>Dec-12</c:v>
                </c:pt>
                <c:pt idx="1048">
                  <c:v>Dec-12</c:v>
                </c:pt>
                <c:pt idx="1049">
                  <c:v>Dec-12</c:v>
                </c:pt>
                <c:pt idx="1050">
                  <c:v>Dec-12</c:v>
                </c:pt>
                <c:pt idx="1051">
                  <c:v>Dec-12</c:v>
                </c:pt>
                <c:pt idx="1052">
                  <c:v>Dec-12</c:v>
                </c:pt>
                <c:pt idx="1053">
                  <c:v>Dec-12</c:v>
                </c:pt>
                <c:pt idx="1054">
                  <c:v>Dec-12</c:v>
                </c:pt>
                <c:pt idx="1055">
                  <c:v>Dec-12</c:v>
                </c:pt>
                <c:pt idx="1056">
                  <c:v>Dec-12</c:v>
                </c:pt>
                <c:pt idx="1057">
                  <c:v>Dec-12</c:v>
                </c:pt>
                <c:pt idx="1058">
                  <c:v>Dec-12</c:v>
                </c:pt>
                <c:pt idx="1059">
                  <c:v>Dec-12</c:v>
                </c:pt>
                <c:pt idx="1060">
                  <c:v>Jan-13 </c:v>
                </c:pt>
                <c:pt idx="1061">
                  <c:v>Jan-13 </c:v>
                </c:pt>
                <c:pt idx="1062">
                  <c:v>Jan-13 </c:v>
                </c:pt>
                <c:pt idx="1063">
                  <c:v>Jan-13 </c:v>
                </c:pt>
                <c:pt idx="1064">
                  <c:v>Jan-13 </c:v>
                </c:pt>
                <c:pt idx="1065">
                  <c:v>Jan-13 </c:v>
                </c:pt>
                <c:pt idx="1066">
                  <c:v>Jan-13 </c:v>
                </c:pt>
                <c:pt idx="1067">
                  <c:v>Jan-13 </c:v>
                </c:pt>
                <c:pt idx="1068">
                  <c:v>Jan-13 </c:v>
                </c:pt>
                <c:pt idx="1069">
                  <c:v>Jan-13 </c:v>
                </c:pt>
                <c:pt idx="1070">
                  <c:v>Jan-13 </c:v>
                </c:pt>
                <c:pt idx="1071">
                  <c:v>Jan-13 </c:v>
                </c:pt>
                <c:pt idx="1072">
                  <c:v>Jan-13 </c:v>
                </c:pt>
                <c:pt idx="1073">
                  <c:v>Jan-13 </c:v>
                </c:pt>
                <c:pt idx="1074">
                  <c:v>Jan-13 </c:v>
                </c:pt>
                <c:pt idx="1075">
                  <c:v>Jan-13 </c:v>
                </c:pt>
                <c:pt idx="1076">
                  <c:v>Jan-13 </c:v>
                </c:pt>
                <c:pt idx="1077">
                  <c:v>Jan-13 </c:v>
                </c:pt>
                <c:pt idx="1078">
                  <c:v>Jan-13 </c:v>
                </c:pt>
                <c:pt idx="1079">
                  <c:v>Jan-13 </c:v>
                </c:pt>
                <c:pt idx="1080">
                  <c:v>Jan-13 </c:v>
                </c:pt>
                <c:pt idx="1081">
                  <c:v>Jan-13 </c:v>
                </c:pt>
                <c:pt idx="1082">
                  <c:v>Feb-13 </c:v>
                </c:pt>
                <c:pt idx="1083">
                  <c:v>Feb-13 </c:v>
                </c:pt>
                <c:pt idx="1084">
                  <c:v>Feb-13 </c:v>
                </c:pt>
                <c:pt idx="1085">
                  <c:v>Feb-13 </c:v>
                </c:pt>
                <c:pt idx="1086">
                  <c:v>Feb-13 </c:v>
                </c:pt>
                <c:pt idx="1087">
                  <c:v>Feb-13 </c:v>
                </c:pt>
                <c:pt idx="1088">
                  <c:v>Feb-13 </c:v>
                </c:pt>
                <c:pt idx="1089">
                  <c:v>Feb-13 </c:v>
                </c:pt>
                <c:pt idx="1090">
                  <c:v>Feb-13 </c:v>
                </c:pt>
                <c:pt idx="1091">
                  <c:v>Feb-13 </c:v>
                </c:pt>
                <c:pt idx="1092">
                  <c:v>Feb-13 </c:v>
                </c:pt>
                <c:pt idx="1093">
                  <c:v>Feb-13 </c:v>
                </c:pt>
                <c:pt idx="1094">
                  <c:v>Feb-13 </c:v>
                </c:pt>
                <c:pt idx="1095">
                  <c:v>Feb-13 </c:v>
                </c:pt>
                <c:pt idx="1096">
                  <c:v>Feb-13 </c:v>
                </c:pt>
                <c:pt idx="1097">
                  <c:v>Feb-13 </c:v>
                </c:pt>
                <c:pt idx="1098">
                  <c:v>Feb-13 </c:v>
                </c:pt>
                <c:pt idx="1099">
                  <c:v>Feb-13 </c:v>
                </c:pt>
                <c:pt idx="1100">
                  <c:v>Feb-13 </c:v>
                </c:pt>
                <c:pt idx="1101">
                  <c:v>Feb-13 </c:v>
                </c:pt>
                <c:pt idx="1102">
                  <c:v>Mar-13 </c:v>
                </c:pt>
                <c:pt idx="1103">
                  <c:v>Mar-13 </c:v>
                </c:pt>
                <c:pt idx="1104">
                  <c:v>Mar-13 </c:v>
                </c:pt>
                <c:pt idx="1105">
                  <c:v>Mar-13 </c:v>
                </c:pt>
                <c:pt idx="1106">
                  <c:v>Mar-13 </c:v>
                </c:pt>
                <c:pt idx="1107">
                  <c:v>Mar-13 </c:v>
                </c:pt>
                <c:pt idx="1108">
                  <c:v>Mar-13 </c:v>
                </c:pt>
                <c:pt idx="1109">
                  <c:v>Mar-13 </c:v>
                </c:pt>
                <c:pt idx="1110">
                  <c:v>Mar-13 </c:v>
                </c:pt>
                <c:pt idx="1111">
                  <c:v>Mar-13 </c:v>
                </c:pt>
                <c:pt idx="1112">
                  <c:v>Mar-13 </c:v>
                </c:pt>
                <c:pt idx="1113">
                  <c:v>Mar-13 </c:v>
                </c:pt>
                <c:pt idx="1114">
                  <c:v>Mar-13 </c:v>
                </c:pt>
                <c:pt idx="1115">
                  <c:v>Mar-13 </c:v>
                </c:pt>
                <c:pt idx="1116">
                  <c:v>Mar-13 </c:v>
                </c:pt>
                <c:pt idx="1117">
                  <c:v>Mar-13 </c:v>
                </c:pt>
                <c:pt idx="1118">
                  <c:v>Mar-13 </c:v>
                </c:pt>
                <c:pt idx="1119">
                  <c:v>Mar-13 </c:v>
                </c:pt>
                <c:pt idx="1120">
                  <c:v>Mar-13 </c:v>
                </c:pt>
                <c:pt idx="1121">
                  <c:v>Mar-13 </c:v>
                </c:pt>
                <c:pt idx="1122">
                  <c:v>Apr-13</c:v>
                </c:pt>
                <c:pt idx="1123">
                  <c:v>Apr-13</c:v>
                </c:pt>
                <c:pt idx="1124">
                  <c:v>Apr-13</c:v>
                </c:pt>
                <c:pt idx="1125">
                  <c:v>Apr-13</c:v>
                </c:pt>
                <c:pt idx="1126">
                  <c:v>Apr-13</c:v>
                </c:pt>
                <c:pt idx="1127">
                  <c:v>Apr-13</c:v>
                </c:pt>
                <c:pt idx="1128">
                  <c:v>Apr-13</c:v>
                </c:pt>
                <c:pt idx="1129">
                  <c:v>Apr-13</c:v>
                </c:pt>
                <c:pt idx="1130">
                  <c:v>Apr-13</c:v>
                </c:pt>
                <c:pt idx="1131">
                  <c:v>Apr-13</c:v>
                </c:pt>
                <c:pt idx="1132">
                  <c:v>Apr-13</c:v>
                </c:pt>
                <c:pt idx="1133">
                  <c:v>Apr-13</c:v>
                </c:pt>
                <c:pt idx="1134">
                  <c:v>Apr-13</c:v>
                </c:pt>
                <c:pt idx="1135">
                  <c:v>Apr-13</c:v>
                </c:pt>
                <c:pt idx="1136">
                  <c:v>Apr-13</c:v>
                </c:pt>
                <c:pt idx="1137">
                  <c:v>Apr-13</c:v>
                </c:pt>
                <c:pt idx="1138">
                  <c:v>Apr-13</c:v>
                </c:pt>
                <c:pt idx="1139">
                  <c:v>Apr-13</c:v>
                </c:pt>
                <c:pt idx="1140">
                  <c:v>Apr-13</c:v>
                </c:pt>
                <c:pt idx="1141">
                  <c:v>Apr-13</c:v>
                </c:pt>
                <c:pt idx="1142">
                  <c:v>Apr-13</c:v>
                </c:pt>
                <c:pt idx="1143">
                  <c:v>May-13 </c:v>
                </c:pt>
                <c:pt idx="1144">
                  <c:v>May-13 </c:v>
                </c:pt>
                <c:pt idx="1145">
                  <c:v>May-13 </c:v>
                </c:pt>
                <c:pt idx="1146">
                  <c:v>May-13 </c:v>
                </c:pt>
                <c:pt idx="1147">
                  <c:v>May-13 </c:v>
                </c:pt>
                <c:pt idx="1148">
                  <c:v>May-13 </c:v>
                </c:pt>
                <c:pt idx="1149">
                  <c:v>May-13 </c:v>
                </c:pt>
                <c:pt idx="1150">
                  <c:v>May-13 </c:v>
                </c:pt>
                <c:pt idx="1151">
                  <c:v>May-13 </c:v>
                </c:pt>
                <c:pt idx="1152">
                  <c:v>May-13 </c:v>
                </c:pt>
                <c:pt idx="1153">
                  <c:v>May-13 </c:v>
                </c:pt>
                <c:pt idx="1154">
                  <c:v>May-13 </c:v>
                </c:pt>
                <c:pt idx="1155">
                  <c:v>May-13 </c:v>
                </c:pt>
                <c:pt idx="1156">
                  <c:v>May-13 </c:v>
                </c:pt>
                <c:pt idx="1157">
                  <c:v>May-13 </c:v>
                </c:pt>
                <c:pt idx="1158">
                  <c:v>May-13 </c:v>
                </c:pt>
                <c:pt idx="1159">
                  <c:v>May-13 </c:v>
                </c:pt>
                <c:pt idx="1160">
                  <c:v>May-13 </c:v>
                </c:pt>
                <c:pt idx="1161">
                  <c:v>May-13 </c:v>
                </c:pt>
                <c:pt idx="1162">
                  <c:v>May-13 </c:v>
                </c:pt>
                <c:pt idx="1163">
                  <c:v>May-13 </c:v>
                </c:pt>
                <c:pt idx="1164">
                  <c:v>May-13 </c:v>
                </c:pt>
                <c:pt idx="1165">
                  <c:v>May-13 </c:v>
                </c:pt>
                <c:pt idx="1166">
                  <c:v>Jun-13 </c:v>
                </c:pt>
                <c:pt idx="1167">
                  <c:v>Jun-13 </c:v>
                </c:pt>
                <c:pt idx="1168">
                  <c:v>Jun-13 </c:v>
                </c:pt>
                <c:pt idx="1169">
                  <c:v>Jun-13 </c:v>
                </c:pt>
                <c:pt idx="1170">
                  <c:v>Jun-13 </c:v>
                </c:pt>
                <c:pt idx="1171">
                  <c:v>Jun-13 </c:v>
                </c:pt>
                <c:pt idx="1172">
                  <c:v>Jun-13 </c:v>
                </c:pt>
                <c:pt idx="1173">
                  <c:v>Jun-13 </c:v>
                </c:pt>
                <c:pt idx="1174">
                  <c:v>Jun-13 </c:v>
                </c:pt>
                <c:pt idx="1175">
                  <c:v>Jun-13 </c:v>
                </c:pt>
                <c:pt idx="1176">
                  <c:v>Jun-13 </c:v>
                </c:pt>
                <c:pt idx="1177">
                  <c:v>Jun-13 </c:v>
                </c:pt>
                <c:pt idx="1178">
                  <c:v>Jun-13 </c:v>
                </c:pt>
                <c:pt idx="1179">
                  <c:v>Jun-13 </c:v>
                </c:pt>
                <c:pt idx="1180">
                  <c:v>Jun-13 </c:v>
                </c:pt>
                <c:pt idx="1181">
                  <c:v>Jun-13 </c:v>
                </c:pt>
                <c:pt idx="1182">
                  <c:v>Jun-13 </c:v>
                </c:pt>
                <c:pt idx="1183">
                  <c:v>Jun-13 </c:v>
                </c:pt>
                <c:pt idx="1184">
                  <c:v>Jun-13 </c:v>
                </c:pt>
                <c:pt idx="1185">
                  <c:v>Jun-13 </c:v>
                </c:pt>
                <c:pt idx="1186">
                  <c:v>Jul-13</c:v>
                </c:pt>
                <c:pt idx="1187">
                  <c:v>Jul-13</c:v>
                </c:pt>
                <c:pt idx="1188">
                  <c:v>Jul-13</c:v>
                </c:pt>
                <c:pt idx="1189">
                  <c:v>Jul-13</c:v>
                </c:pt>
                <c:pt idx="1190">
                  <c:v>Jul-13</c:v>
                </c:pt>
                <c:pt idx="1191">
                  <c:v>Jul-13</c:v>
                </c:pt>
                <c:pt idx="1192">
                  <c:v>Jul-13</c:v>
                </c:pt>
                <c:pt idx="1193">
                  <c:v>Jul-13</c:v>
                </c:pt>
                <c:pt idx="1194">
                  <c:v>Jul-13</c:v>
                </c:pt>
                <c:pt idx="1195">
                  <c:v>Jul-13</c:v>
                </c:pt>
                <c:pt idx="1196">
                  <c:v>Jul-13</c:v>
                </c:pt>
                <c:pt idx="1197">
                  <c:v>Jul-13</c:v>
                </c:pt>
                <c:pt idx="1198">
                  <c:v>Jul-13</c:v>
                </c:pt>
                <c:pt idx="1199">
                  <c:v>Jul-13</c:v>
                </c:pt>
                <c:pt idx="1200">
                  <c:v>Jul-13</c:v>
                </c:pt>
                <c:pt idx="1201">
                  <c:v>Jul-13</c:v>
                </c:pt>
                <c:pt idx="1202">
                  <c:v>Jul-13</c:v>
                </c:pt>
                <c:pt idx="1203">
                  <c:v>Jul-13</c:v>
                </c:pt>
                <c:pt idx="1204">
                  <c:v>Jul-13</c:v>
                </c:pt>
                <c:pt idx="1205">
                  <c:v>Jul-13</c:v>
                </c:pt>
                <c:pt idx="1206">
                  <c:v>Jul-13</c:v>
                </c:pt>
                <c:pt idx="1207">
                  <c:v>Jul-13</c:v>
                </c:pt>
                <c:pt idx="1208">
                  <c:v>Jul-13</c:v>
                </c:pt>
                <c:pt idx="1209">
                  <c:v>Aug-13 </c:v>
                </c:pt>
                <c:pt idx="1210">
                  <c:v>Aug-13 </c:v>
                </c:pt>
                <c:pt idx="1211">
                  <c:v>Aug-13 </c:v>
                </c:pt>
                <c:pt idx="1212">
                  <c:v>Aug-13 </c:v>
                </c:pt>
                <c:pt idx="1213">
                  <c:v>Aug-13 </c:v>
                </c:pt>
                <c:pt idx="1214">
                  <c:v>Aug-13 </c:v>
                </c:pt>
                <c:pt idx="1215">
                  <c:v>Aug-13 </c:v>
                </c:pt>
                <c:pt idx="1216">
                  <c:v>Aug-13 </c:v>
                </c:pt>
                <c:pt idx="1217">
                  <c:v>Aug-13 </c:v>
                </c:pt>
                <c:pt idx="1218">
                  <c:v>Aug-13 </c:v>
                </c:pt>
                <c:pt idx="1219">
                  <c:v>Aug-13 </c:v>
                </c:pt>
                <c:pt idx="1220">
                  <c:v>Aug-13 </c:v>
                </c:pt>
                <c:pt idx="1221">
                  <c:v>Aug-13 </c:v>
                </c:pt>
                <c:pt idx="1222">
                  <c:v>Aug-13 </c:v>
                </c:pt>
                <c:pt idx="1223">
                  <c:v>Aug-13 </c:v>
                </c:pt>
                <c:pt idx="1224">
                  <c:v>Aug-13 </c:v>
                </c:pt>
                <c:pt idx="1225">
                  <c:v>Aug-13 </c:v>
                </c:pt>
                <c:pt idx="1226">
                  <c:v>Aug-13 </c:v>
                </c:pt>
                <c:pt idx="1227">
                  <c:v>Aug-13 </c:v>
                </c:pt>
                <c:pt idx="1228">
                  <c:v>Aug-13 </c:v>
                </c:pt>
                <c:pt idx="1229">
                  <c:v>Aug-13 </c:v>
                </c:pt>
                <c:pt idx="1230">
                  <c:v>Aug-13 </c:v>
                </c:pt>
                <c:pt idx="1231">
                  <c:v>Sep-13</c:v>
                </c:pt>
                <c:pt idx="1232">
                  <c:v>Sep-13</c:v>
                </c:pt>
                <c:pt idx="1233">
                  <c:v>Sep-13</c:v>
                </c:pt>
                <c:pt idx="1234">
                  <c:v>Sep-13</c:v>
                </c:pt>
                <c:pt idx="1235">
                  <c:v>Sep-13</c:v>
                </c:pt>
                <c:pt idx="1236">
                  <c:v>Sep-13</c:v>
                </c:pt>
                <c:pt idx="1237">
                  <c:v>Sep-13</c:v>
                </c:pt>
                <c:pt idx="1238">
                  <c:v>Sep-13</c:v>
                </c:pt>
                <c:pt idx="1239">
                  <c:v>Sep-13</c:v>
                </c:pt>
                <c:pt idx="1240">
                  <c:v>Sep-13</c:v>
                </c:pt>
                <c:pt idx="1241">
                  <c:v>Sep-13</c:v>
                </c:pt>
                <c:pt idx="1242">
                  <c:v>Sep-13</c:v>
                </c:pt>
                <c:pt idx="1243">
                  <c:v>Sep-13</c:v>
                </c:pt>
                <c:pt idx="1244">
                  <c:v>Sep-13</c:v>
                </c:pt>
                <c:pt idx="1245">
                  <c:v>Sep-13</c:v>
                </c:pt>
              </c:strCache>
            </c:strRef>
          </c:cat>
          <c:val>
            <c:numRef>
              <c:f>Sheet1!$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89999958</c:v>
                </c:pt>
                <c:pt idx="7">
                  <c:v>97.486084590000004</c:v>
                </c:pt>
                <c:pt idx="8">
                  <c:v>97.953544309999998</c:v>
                </c:pt>
                <c:pt idx="9">
                  <c:v>98.721459980000205</c:v>
                </c:pt>
                <c:pt idx="10">
                  <c:v>95.243220420000327</c:v>
                </c:pt>
                <c:pt idx="11">
                  <c:v>92.950594409999994</c:v>
                </c:pt>
                <c:pt idx="12">
                  <c:v>93.489869510000005</c:v>
                </c:pt>
                <c:pt idx="13">
                  <c:v>94.033479920000005</c:v>
                </c:pt>
                <c:pt idx="14">
                  <c:v>94.342041029999919</c:v>
                </c:pt>
                <c:pt idx="15">
                  <c:v>95.301652880000006</c:v>
                </c:pt>
                <c:pt idx="16">
                  <c:v>100.42806490000002</c:v>
                </c:pt>
                <c:pt idx="17">
                  <c:v>103.91516360000034</c:v>
                </c:pt>
                <c:pt idx="18">
                  <c:v>104.40411140000025</c:v>
                </c:pt>
                <c:pt idx="19">
                  <c:v>101.8477853</c:v>
                </c:pt>
                <c:pt idx="20">
                  <c:v>104.75244429999998</c:v>
                </c:pt>
                <c:pt idx="21">
                  <c:v>105.2711738</c:v>
                </c:pt>
                <c:pt idx="22">
                  <c:v>106.6211522</c:v>
                </c:pt>
                <c:pt idx="23">
                  <c:v>109.4206327</c:v>
                </c:pt>
                <c:pt idx="24">
                  <c:v>108.1343645</c:v>
                </c:pt>
                <c:pt idx="25">
                  <c:v>106.00440690000002</c:v>
                </c:pt>
                <c:pt idx="26">
                  <c:v>105.26910030000002</c:v>
                </c:pt>
                <c:pt idx="27">
                  <c:v>105.41028070000017</c:v>
                </c:pt>
                <c:pt idx="28">
                  <c:v>105.9964903</c:v>
                </c:pt>
                <c:pt idx="29">
                  <c:v>107.5083832</c:v>
                </c:pt>
                <c:pt idx="30">
                  <c:v>107.4561709</c:v>
                </c:pt>
                <c:pt idx="31">
                  <c:v>109.76953109999998</c:v>
                </c:pt>
                <c:pt idx="32">
                  <c:v>114.46486229999999</c:v>
                </c:pt>
                <c:pt idx="33">
                  <c:v>113.34861370000017</c:v>
                </c:pt>
                <c:pt idx="34">
                  <c:v>112.68210670000001</c:v>
                </c:pt>
                <c:pt idx="35">
                  <c:v>109.35239869999978</c:v>
                </c:pt>
                <c:pt idx="36">
                  <c:v>108.8167049</c:v>
                </c:pt>
                <c:pt idx="37">
                  <c:v>106.98701480000017</c:v>
                </c:pt>
                <c:pt idx="38">
                  <c:v>105.08720570000017</c:v>
                </c:pt>
                <c:pt idx="39">
                  <c:v>105.426868</c:v>
                </c:pt>
                <c:pt idx="40">
                  <c:v>101.66966050000002</c:v>
                </c:pt>
                <c:pt idx="41">
                  <c:v>103.84447919999998</c:v>
                </c:pt>
                <c:pt idx="42">
                  <c:v>103.52837839999958</c:v>
                </c:pt>
                <c:pt idx="43">
                  <c:v>101.99480890000002</c:v>
                </c:pt>
                <c:pt idx="44">
                  <c:v>100.65010829999983</c:v>
                </c:pt>
                <c:pt idx="45">
                  <c:v>101.76956120000017</c:v>
                </c:pt>
                <c:pt idx="46">
                  <c:v>99.800010180000001</c:v>
                </c:pt>
                <c:pt idx="47">
                  <c:v>100.16983109999983</c:v>
                </c:pt>
                <c:pt idx="48">
                  <c:v>100.78111010000002</c:v>
                </c:pt>
                <c:pt idx="49">
                  <c:v>103.38814050000001</c:v>
                </c:pt>
                <c:pt idx="50">
                  <c:v>103.10879559999975</c:v>
                </c:pt>
                <c:pt idx="51">
                  <c:v>102.31373709999983</c:v>
                </c:pt>
                <c:pt idx="52">
                  <c:v>99.94439491000017</c:v>
                </c:pt>
                <c:pt idx="53">
                  <c:v>99.753264210000026</c:v>
                </c:pt>
                <c:pt idx="54">
                  <c:v>100.0269543</c:v>
                </c:pt>
                <c:pt idx="55">
                  <c:v>100.3997912</c:v>
                </c:pt>
                <c:pt idx="56">
                  <c:v>102.3448382</c:v>
                </c:pt>
                <c:pt idx="57">
                  <c:v>101.40690290000002</c:v>
                </c:pt>
                <c:pt idx="58">
                  <c:v>101.81932310000002</c:v>
                </c:pt>
                <c:pt idx="59">
                  <c:v>101.58238879999971</c:v>
                </c:pt>
                <c:pt idx="60">
                  <c:v>100.19245009999995</c:v>
                </c:pt>
                <c:pt idx="61">
                  <c:v>102.1035687</c:v>
                </c:pt>
                <c:pt idx="62">
                  <c:v>100.99580229999998</c:v>
                </c:pt>
                <c:pt idx="63">
                  <c:v>98.152403179999695</c:v>
                </c:pt>
                <c:pt idx="64">
                  <c:v>98.586122860000003</c:v>
                </c:pt>
                <c:pt idx="65">
                  <c:v>98.357859259999998</c:v>
                </c:pt>
                <c:pt idx="66">
                  <c:v>96.247504840000204</c:v>
                </c:pt>
                <c:pt idx="67">
                  <c:v>97.9269669600002</c:v>
                </c:pt>
                <c:pt idx="68">
                  <c:v>97.529814689999995</c:v>
                </c:pt>
                <c:pt idx="69">
                  <c:v>97.567136070000004</c:v>
                </c:pt>
                <c:pt idx="70">
                  <c:v>97.05236490999998</c:v>
                </c:pt>
                <c:pt idx="71">
                  <c:v>95.167069729999994</c:v>
                </c:pt>
                <c:pt idx="72">
                  <c:v>91.351995279999983</c:v>
                </c:pt>
                <c:pt idx="73">
                  <c:v>91.334842519999725</c:v>
                </c:pt>
                <c:pt idx="74">
                  <c:v>92.255248080000001</c:v>
                </c:pt>
                <c:pt idx="75">
                  <c:v>91.505993099999998</c:v>
                </c:pt>
                <c:pt idx="76">
                  <c:v>90.824595169999981</c:v>
                </c:pt>
                <c:pt idx="77">
                  <c:v>88.887653220000217</c:v>
                </c:pt>
                <c:pt idx="78">
                  <c:v>90.369952900000001</c:v>
                </c:pt>
                <c:pt idx="79">
                  <c:v>90.83986299999998</c:v>
                </c:pt>
                <c:pt idx="80">
                  <c:v>90.368444960000005</c:v>
                </c:pt>
                <c:pt idx="81">
                  <c:v>92.927409920000215</c:v>
                </c:pt>
                <c:pt idx="82">
                  <c:v>93.505514329999983</c:v>
                </c:pt>
                <c:pt idx="83">
                  <c:v>92.406418520000003</c:v>
                </c:pt>
                <c:pt idx="84">
                  <c:v>93.463669139999993</c:v>
                </c:pt>
                <c:pt idx="85">
                  <c:v>95.046623450000297</c:v>
                </c:pt>
                <c:pt idx="86">
                  <c:v>96.381899509999982</c:v>
                </c:pt>
                <c:pt idx="87">
                  <c:v>100.367936</c:v>
                </c:pt>
                <c:pt idx="88">
                  <c:v>102.06813229999995</c:v>
                </c:pt>
                <c:pt idx="89">
                  <c:v>101.10512749999998</c:v>
                </c:pt>
                <c:pt idx="90">
                  <c:v>103.29766440000034</c:v>
                </c:pt>
                <c:pt idx="91">
                  <c:v>103.6143307</c:v>
                </c:pt>
                <c:pt idx="92">
                  <c:v>99.128979299999784</c:v>
                </c:pt>
                <c:pt idx="93">
                  <c:v>100.1920732</c:v>
                </c:pt>
                <c:pt idx="94">
                  <c:v>101.32490900000002</c:v>
                </c:pt>
                <c:pt idx="95">
                  <c:v>106.42512069999999</c:v>
                </c:pt>
                <c:pt idx="96">
                  <c:v>107.2309232000003</c:v>
                </c:pt>
                <c:pt idx="97">
                  <c:v>109.2634305</c:v>
                </c:pt>
                <c:pt idx="98">
                  <c:v>106.60022960000028</c:v>
                </c:pt>
                <c:pt idx="99">
                  <c:v>104.5034466</c:v>
                </c:pt>
                <c:pt idx="100">
                  <c:v>106.42700560000017</c:v>
                </c:pt>
                <c:pt idx="101">
                  <c:v>112.005421</c:v>
                </c:pt>
                <c:pt idx="102">
                  <c:v>112.21031160000017</c:v>
                </c:pt>
                <c:pt idx="103">
                  <c:v>112.7254598</c:v>
                </c:pt>
                <c:pt idx="104">
                  <c:v>113.14937789999971</c:v>
                </c:pt>
                <c:pt idx="105">
                  <c:v>112.76033080000001</c:v>
                </c:pt>
                <c:pt idx="106">
                  <c:v>111.59300090000002</c:v>
                </c:pt>
                <c:pt idx="107">
                  <c:v>110.81415269999999</c:v>
                </c:pt>
                <c:pt idx="108">
                  <c:v>111.92625450000017</c:v>
                </c:pt>
                <c:pt idx="109">
                  <c:v>113.6290896</c:v>
                </c:pt>
                <c:pt idx="110">
                  <c:v>111.63673099999983</c:v>
                </c:pt>
                <c:pt idx="111">
                  <c:v>110.60436129999998</c:v>
                </c:pt>
                <c:pt idx="112">
                  <c:v>112.950896</c:v>
                </c:pt>
                <c:pt idx="113">
                  <c:v>118.48445040000017</c:v>
                </c:pt>
                <c:pt idx="114">
                  <c:v>118.28351809999998</c:v>
                </c:pt>
                <c:pt idx="115">
                  <c:v>123.9245128</c:v>
                </c:pt>
                <c:pt idx="116">
                  <c:v>125.3693026</c:v>
                </c:pt>
                <c:pt idx="117">
                  <c:v>129.69085459999965</c:v>
                </c:pt>
                <c:pt idx="118">
                  <c:v>132.22361919999992</c:v>
                </c:pt>
                <c:pt idx="119">
                  <c:v>132.62529519999998</c:v>
                </c:pt>
                <c:pt idx="120">
                  <c:v>129.89291780000065</c:v>
                </c:pt>
                <c:pt idx="121">
                  <c:v>130.77128969999998</c:v>
                </c:pt>
                <c:pt idx="122">
                  <c:v>130.3452982</c:v>
                </c:pt>
                <c:pt idx="123">
                  <c:v>126.60844779999974</c:v>
                </c:pt>
                <c:pt idx="124">
                  <c:v>128.21458659999965</c:v>
                </c:pt>
                <c:pt idx="125">
                  <c:v>129.89499119999999</c:v>
                </c:pt>
                <c:pt idx="126">
                  <c:v>135.1294091</c:v>
                </c:pt>
                <c:pt idx="127">
                  <c:v>135.59686880000001</c:v>
                </c:pt>
                <c:pt idx="128">
                  <c:v>133.37586969999998</c:v>
                </c:pt>
                <c:pt idx="129">
                  <c:v>135.68753330000001</c:v>
                </c:pt>
                <c:pt idx="130">
                  <c:v>135.730321</c:v>
                </c:pt>
                <c:pt idx="131">
                  <c:v>133.52006589999999</c:v>
                </c:pt>
                <c:pt idx="132">
                  <c:v>136.90405949999999</c:v>
                </c:pt>
                <c:pt idx="133">
                  <c:v>136.10485419999952</c:v>
                </c:pt>
                <c:pt idx="134">
                  <c:v>137.9760125</c:v>
                </c:pt>
                <c:pt idx="135">
                  <c:v>141.74886479999955</c:v>
                </c:pt>
                <c:pt idx="136">
                  <c:v>141.4280517</c:v>
                </c:pt>
                <c:pt idx="137">
                  <c:v>141.95168200000001</c:v>
                </c:pt>
                <c:pt idx="138">
                  <c:v>142.62290140000007</c:v>
                </c:pt>
                <c:pt idx="139">
                  <c:v>145.03069589999998</c:v>
                </c:pt>
                <c:pt idx="140">
                  <c:v>141.98052129999999</c:v>
                </c:pt>
                <c:pt idx="141">
                  <c:v>143.01873419999998</c:v>
                </c:pt>
                <c:pt idx="142">
                  <c:v>146.16032740000034</c:v>
                </c:pt>
                <c:pt idx="143">
                  <c:v>145.33586419999995</c:v>
                </c:pt>
                <c:pt idx="144">
                  <c:v>145.0372931</c:v>
                </c:pt>
                <c:pt idx="145">
                  <c:v>142.82496459999999</c:v>
                </c:pt>
                <c:pt idx="146">
                  <c:v>140.49822160000033</c:v>
                </c:pt>
                <c:pt idx="147">
                  <c:v>139.03307469999959</c:v>
                </c:pt>
                <c:pt idx="148">
                  <c:v>135.92899140000034</c:v>
                </c:pt>
                <c:pt idx="149">
                  <c:v>138.33923630000047</c:v>
                </c:pt>
                <c:pt idx="150">
                  <c:v>136.9570257</c:v>
                </c:pt>
                <c:pt idx="151">
                  <c:v>134.969945</c:v>
                </c:pt>
                <c:pt idx="152">
                  <c:v>138.3401787</c:v>
                </c:pt>
                <c:pt idx="153">
                  <c:v>140.37758679999999</c:v>
                </c:pt>
                <c:pt idx="154">
                  <c:v>141.02863760000034</c:v>
                </c:pt>
                <c:pt idx="155">
                  <c:v>141.19658379999959</c:v>
                </c:pt>
                <c:pt idx="156">
                  <c:v>141.85555119999998</c:v>
                </c:pt>
                <c:pt idx="157">
                  <c:v>142.89979589999999</c:v>
                </c:pt>
                <c:pt idx="158">
                  <c:v>142.55410190000001</c:v>
                </c:pt>
                <c:pt idx="159">
                  <c:v>142.09776319999995</c:v>
                </c:pt>
                <c:pt idx="160">
                  <c:v>140.06600979999999</c:v>
                </c:pt>
                <c:pt idx="161">
                  <c:v>140.89952069999998</c:v>
                </c:pt>
                <c:pt idx="162">
                  <c:v>140.18494820000001</c:v>
                </c:pt>
                <c:pt idx="163">
                  <c:v>142.30340770000001</c:v>
                </c:pt>
                <c:pt idx="164">
                  <c:v>140.9837765</c:v>
                </c:pt>
                <c:pt idx="165">
                  <c:v>138.76711269999998</c:v>
                </c:pt>
                <c:pt idx="166">
                  <c:v>142.20821940000027</c:v>
                </c:pt>
                <c:pt idx="167">
                  <c:v>147.08205240000001</c:v>
                </c:pt>
                <c:pt idx="168">
                  <c:v>147.39117900000034</c:v>
                </c:pt>
                <c:pt idx="169">
                  <c:v>149.0749764</c:v>
                </c:pt>
                <c:pt idx="170">
                  <c:v>151.8672942</c:v>
                </c:pt>
                <c:pt idx="171">
                  <c:v>151.90744300000034</c:v>
                </c:pt>
                <c:pt idx="172">
                  <c:v>151.4767392</c:v>
                </c:pt>
                <c:pt idx="173">
                  <c:v>153.83609129999999</c:v>
                </c:pt>
                <c:pt idx="174">
                  <c:v>155.5240355</c:v>
                </c:pt>
                <c:pt idx="175">
                  <c:v>157.24685079999955</c:v>
                </c:pt>
                <c:pt idx="176">
                  <c:v>160.09552769999999</c:v>
                </c:pt>
                <c:pt idx="177">
                  <c:v>158.09562940000001</c:v>
                </c:pt>
                <c:pt idx="178">
                  <c:v>160.05368249999998</c:v>
                </c:pt>
                <c:pt idx="179">
                  <c:v>161.9566959</c:v>
                </c:pt>
                <c:pt idx="180">
                  <c:v>163.36831110000034</c:v>
                </c:pt>
                <c:pt idx="181">
                  <c:v>163.3786782</c:v>
                </c:pt>
                <c:pt idx="182">
                  <c:v>161.26040710000001</c:v>
                </c:pt>
                <c:pt idx="183">
                  <c:v>161.920694</c:v>
                </c:pt>
                <c:pt idx="184">
                  <c:v>160.29363259999965</c:v>
                </c:pt>
                <c:pt idx="185">
                  <c:v>160.36488249999999</c:v>
                </c:pt>
                <c:pt idx="186">
                  <c:v>161.33033760000046</c:v>
                </c:pt>
                <c:pt idx="187">
                  <c:v>158.89747360000001</c:v>
                </c:pt>
                <c:pt idx="188">
                  <c:v>161.61156739999998</c:v>
                </c:pt>
                <c:pt idx="189">
                  <c:v>161.60346219999965</c:v>
                </c:pt>
                <c:pt idx="190">
                  <c:v>157.24025359999962</c:v>
                </c:pt>
                <c:pt idx="191">
                  <c:v>157.2619301</c:v>
                </c:pt>
                <c:pt idx="192">
                  <c:v>155.24921449999965</c:v>
                </c:pt>
                <c:pt idx="193">
                  <c:v>157.73617549999992</c:v>
                </c:pt>
                <c:pt idx="194">
                  <c:v>157.97405219999962</c:v>
                </c:pt>
                <c:pt idx="195">
                  <c:v>160.9049115</c:v>
                </c:pt>
                <c:pt idx="196">
                  <c:v>160.95731230000047</c:v>
                </c:pt>
                <c:pt idx="197">
                  <c:v>160.74507049999966</c:v>
                </c:pt>
                <c:pt idx="198">
                  <c:v>160.78955449999953</c:v>
                </c:pt>
                <c:pt idx="199">
                  <c:v>161.65850180000001</c:v>
                </c:pt>
                <c:pt idx="200">
                  <c:v>159.2482569</c:v>
                </c:pt>
                <c:pt idx="201">
                  <c:v>159.53476449999965</c:v>
                </c:pt>
                <c:pt idx="202">
                  <c:v>157.57576899999998</c:v>
                </c:pt>
                <c:pt idx="203">
                  <c:v>159.18850499999999</c:v>
                </c:pt>
                <c:pt idx="204">
                  <c:v>160.51586439999966</c:v>
                </c:pt>
                <c:pt idx="205">
                  <c:v>162.84223050000034</c:v>
                </c:pt>
                <c:pt idx="206">
                  <c:v>164.97803130000034</c:v>
                </c:pt>
                <c:pt idx="207">
                  <c:v>164.7182895</c:v>
                </c:pt>
                <c:pt idx="208">
                  <c:v>165.77817909999999</c:v>
                </c:pt>
                <c:pt idx="209">
                  <c:v>167.03466549999962</c:v>
                </c:pt>
                <c:pt idx="210">
                  <c:v>164.11662369999965</c:v>
                </c:pt>
                <c:pt idx="211">
                  <c:v>165.59835790000034</c:v>
                </c:pt>
                <c:pt idx="212">
                  <c:v>168.39519950000007</c:v>
                </c:pt>
                <c:pt idx="213">
                  <c:v>169.50522780000034</c:v>
                </c:pt>
                <c:pt idx="214">
                  <c:v>168.88942500000007</c:v>
                </c:pt>
                <c:pt idx="215">
                  <c:v>168.56371119999972</c:v>
                </c:pt>
                <c:pt idx="216">
                  <c:v>170.16683409999999</c:v>
                </c:pt>
                <c:pt idx="217">
                  <c:v>170.30895690000034</c:v>
                </c:pt>
                <c:pt idx="218">
                  <c:v>170.05807429999999</c:v>
                </c:pt>
                <c:pt idx="219">
                  <c:v>168.72807599999999</c:v>
                </c:pt>
                <c:pt idx="220">
                  <c:v>166.12915079999965</c:v>
                </c:pt>
                <c:pt idx="221">
                  <c:v>167.73547809999999</c:v>
                </c:pt>
                <c:pt idx="222">
                  <c:v>169.62397769999998</c:v>
                </c:pt>
                <c:pt idx="223">
                  <c:v>169.69617</c:v>
                </c:pt>
                <c:pt idx="224">
                  <c:v>167.48176810000001</c:v>
                </c:pt>
                <c:pt idx="225">
                  <c:v>167.81389069999992</c:v>
                </c:pt>
                <c:pt idx="226">
                  <c:v>170.96095009999999</c:v>
                </c:pt>
                <c:pt idx="227">
                  <c:v>172.32902379999999</c:v>
                </c:pt>
                <c:pt idx="228">
                  <c:v>173.60058959999998</c:v>
                </c:pt>
                <c:pt idx="229">
                  <c:v>173.58419079999999</c:v>
                </c:pt>
                <c:pt idx="230">
                  <c:v>174.02884300000034</c:v>
                </c:pt>
                <c:pt idx="231">
                  <c:v>174.36511240000004</c:v>
                </c:pt>
                <c:pt idx="232">
                  <c:v>176.72842290000034</c:v>
                </c:pt>
                <c:pt idx="233">
                  <c:v>176.148999</c:v>
                </c:pt>
                <c:pt idx="234">
                  <c:v>176.37179630000034</c:v>
                </c:pt>
                <c:pt idx="235">
                  <c:v>177.52348140000001</c:v>
                </c:pt>
                <c:pt idx="236">
                  <c:v>177.59397730000001</c:v>
                </c:pt>
                <c:pt idx="237">
                  <c:v>175.69869209999999</c:v>
                </c:pt>
                <c:pt idx="238">
                  <c:v>173.6411153</c:v>
                </c:pt>
                <c:pt idx="239">
                  <c:v>175.97803690000046</c:v>
                </c:pt>
                <c:pt idx="240">
                  <c:v>175.83836450000001</c:v>
                </c:pt>
                <c:pt idx="241">
                  <c:v>174.21714630000034</c:v>
                </c:pt>
                <c:pt idx="242">
                  <c:v>170.95699180000034</c:v>
                </c:pt>
                <c:pt idx="243">
                  <c:v>169.39420610000033</c:v>
                </c:pt>
                <c:pt idx="244">
                  <c:v>170.39509770000001</c:v>
                </c:pt>
                <c:pt idx="245">
                  <c:v>169.8320726</c:v>
                </c:pt>
                <c:pt idx="246">
                  <c:v>168.05516019999999</c:v>
                </c:pt>
                <c:pt idx="247">
                  <c:v>170.80318249999999</c:v>
                </c:pt>
                <c:pt idx="248">
                  <c:v>170.26711180000001</c:v>
                </c:pt>
                <c:pt idx="249">
                  <c:v>173.50577819999998</c:v>
                </c:pt>
                <c:pt idx="250">
                  <c:v>175.98237220000001</c:v>
                </c:pt>
                <c:pt idx="251">
                  <c:v>176.38065549999999</c:v>
                </c:pt>
                <c:pt idx="252">
                  <c:v>177.96115940000001</c:v>
                </c:pt>
                <c:pt idx="253">
                  <c:v>177.14291640000027</c:v>
                </c:pt>
                <c:pt idx="254">
                  <c:v>177.18457309999965</c:v>
                </c:pt>
                <c:pt idx="255">
                  <c:v>180.20308109999965</c:v>
                </c:pt>
                <c:pt idx="256">
                  <c:v>180.34708879999999</c:v>
                </c:pt>
                <c:pt idx="257">
                  <c:v>179.60028419999998</c:v>
                </c:pt>
                <c:pt idx="258">
                  <c:v>178.5520812</c:v>
                </c:pt>
                <c:pt idx="259">
                  <c:v>178.7279441</c:v>
                </c:pt>
                <c:pt idx="260">
                  <c:v>179.67907379999934</c:v>
                </c:pt>
                <c:pt idx="261">
                  <c:v>178.34002790000034</c:v>
                </c:pt>
                <c:pt idx="262">
                  <c:v>180.21420209999965</c:v>
                </c:pt>
                <c:pt idx="263">
                  <c:v>177.52555479999955</c:v>
                </c:pt>
                <c:pt idx="264">
                  <c:v>176.88769850000034</c:v>
                </c:pt>
                <c:pt idx="265">
                  <c:v>176.4049709</c:v>
                </c:pt>
                <c:pt idx="266">
                  <c:v>179.40726860000001</c:v>
                </c:pt>
                <c:pt idx="267">
                  <c:v>180.34445000000002</c:v>
                </c:pt>
                <c:pt idx="268">
                  <c:v>181.8357972</c:v>
                </c:pt>
                <c:pt idx="269">
                  <c:v>180.73990579999952</c:v>
                </c:pt>
                <c:pt idx="270">
                  <c:v>179.62082990000007</c:v>
                </c:pt>
                <c:pt idx="271">
                  <c:v>179.7885876</c:v>
                </c:pt>
                <c:pt idx="272">
                  <c:v>178.8940054</c:v>
                </c:pt>
                <c:pt idx="273">
                  <c:v>178.89230900000047</c:v>
                </c:pt>
                <c:pt idx="274">
                  <c:v>180.40043200000034</c:v>
                </c:pt>
                <c:pt idx="275">
                  <c:v>180.33747579999999</c:v>
                </c:pt>
                <c:pt idx="276">
                  <c:v>180.24172189999999</c:v>
                </c:pt>
                <c:pt idx="277">
                  <c:v>180.79419139999999</c:v>
                </c:pt>
                <c:pt idx="278">
                  <c:v>180.0786765</c:v>
                </c:pt>
                <c:pt idx="279">
                  <c:v>180.18083910000001</c:v>
                </c:pt>
                <c:pt idx="280">
                  <c:v>177.5937888</c:v>
                </c:pt>
                <c:pt idx="281">
                  <c:v>179.88754580000034</c:v>
                </c:pt>
                <c:pt idx="282">
                  <c:v>179.8127145</c:v>
                </c:pt>
                <c:pt idx="283">
                  <c:v>180.37460859999999</c:v>
                </c:pt>
                <c:pt idx="284">
                  <c:v>181.78773179999999</c:v>
                </c:pt>
                <c:pt idx="285">
                  <c:v>182.3432172</c:v>
                </c:pt>
                <c:pt idx="286">
                  <c:v>182.54509199999998</c:v>
                </c:pt>
                <c:pt idx="287">
                  <c:v>183.20632130000001</c:v>
                </c:pt>
                <c:pt idx="288">
                  <c:v>184.5325497</c:v>
                </c:pt>
                <c:pt idx="289">
                  <c:v>186.57014630000043</c:v>
                </c:pt>
                <c:pt idx="290">
                  <c:v>187.22402439999999</c:v>
                </c:pt>
                <c:pt idx="291">
                  <c:v>185.96452209999998</c:v>
                </c:pt>
                <c:pt idx="292">
                  <c:v>186.4065354</c:v>
                </c:pt>
                <c:pt idx="293">
                  <c:v>188.4671280000004</c:v>
                </c:pt>
                <c:pt idx="294">
                  <c:v>187.91937069999992</c:v>
                </c:pt>
                <c:pt idx="295">
                  <c:v>186.73130680000034</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09999998</c:v>
                </c:pt>
                <c:pt idx="305">
                  <c:v>175.28118269999999</c:v>
                </c:pt>
                <c:pt idx="306">
                  <c:v>178.1594528</c:v>
                </c:pt>
                <c:pt idx="307">
                  <c:v>177.74250889999999</c:v>
                </c:pt>
                <c:pt idx="308">
                  <c:v>176.88901790000034</c:v>
                </c:pt>
                <c:pt idx="309">
                  <c:v>176.44191530000001</c:v>
                </c:pt>
                <c:pt idx="310">
                  <c:v>179.24836999999999</c:v>
                </c:pt>
                <c:pt idx="311">
                  <c:v>176.69317489999995</c:v>
                </c:pt>
                <c:pt idx="312">
                  <c:v>171.91377629999965</c:v>
                </c:pt>
                <c:pt idx="313">
                  <c:v>171.65328059999999</c:v>
                </c:pt>
                <c:pt idx="314">
                  <c:v>173.4592207</c:v>
                </c:pt>
                <c:pt idx="315">
                  <c:v>173.89671030000034</c:v>
                </c:pt>
                <c:pt idx="316">
                  <c:v>175.28683740000034</c:v>
                </c:pt>
                <c:pt idx="317">
                  <c:v>176.02308650000001</c:v>
                </c:pt>
                <c:pt idx="318">
                  <c:v>175.4870157</c:v>
                </c:pt>
                <c:pt idx="319">
                  <c:v>176.40987169999966</c:v>
                </c:pt>
                <c:pt idx="320">
                  <c:v>178.89513630000062</c:v>
                </c:pt>
                <c:pt idx="321">
                  <c:v>177.3259419000004</c:v>
                </c:pt>
                <c:pt idx="322">
                  <c:v>176.70467289999965</c:v>
                </c:pt>
                <c:pt idx="323">
                  <c:v>177.77172509999966</c:v>
                </c:pt>
                <c:pt idx="324">
                  <c:v>179.31509610000001</c:v>
                </c:pt>
                <c:pt idx="325">
                  <c:v>178.63577159999966</c:v>
                </c:pt>
                <c:pt idx="326">
                  <c:v>177.86540550000001</c:v>
                </c:pt>
                <c:pt idx="327">
                  <c:v>178.34813310000001</c:v>
                </c:pt>
                <c:pt idx="328">
                  <c:v>180.34331900000001</c:v>
                </c:pt>
                <c:pt idx="329">
                  <c:v>181.0132189</c:v>
                </c:pt>
                <c:pt idx="330">
                  <c:v>181.53534130000034</c:v>
                </c:pt>
                <c:pt idx="331">
                  <c:v>180.99361579999959</c:v>
                </c:pt>
                <c:pt idx="332">
                  <c:v>182.69381199999998</c:v>
                </c:pt>
                <c:pt idx="333">
                  <c:v>186.65722950000034</c:v>
                </c:pt>
                <c:pt idx="334">
                  <c:v>186.56015619999999</c:v>
                </c:pt>
                <c:pt idx="335">
                  <c:v>188.1131403</c:v>
                </c:pt>
                <c:pt idx="336">
                  <c:v>188.20361639999999</c:v>
                </c:pt>
                <c:pt idx="337">
                  <c:v>188.52763379999999</c:v>
                </c:pt>
                <c:pt idx="338">
                  <c:v>187.04043340000001</c:v>
                </c:pt>
                <c:pt idx="339">
                  <c:v>188.51217750000001</c:v>
                </c:pt>
                <c:pt idx="340">
                  <c:v>192.477103</c:v>
                </c:pt>
                <c:pt idx="341">
                  <c:v>191.15766019999998</c:v>
                </c:pt>
                <c:pt idx="342">
                  <c:v>190.97105329999965</c:v>
                </c:pt>
                <c:pt idx="343">
                  <c:v>188.89575840000001</c:v>
                </c:pt>
                <c:pt idx="344">
                  <c:v>190.68567669999999</c:v>
                </c:pt>
                <c:pt idx="345">
                  <c:v>190.94975369999949</c:v>
                </c:pt>
                <c:pt idx="346">
                  <c:v>191.55537800000027</c:v>
                </c:pt>
                <c:pt idx="347">
                  <c:v>192.19907749999999</c:v>
                </c:pt>
                <c:pt idx="348">
                  <c:v>193.37357009999965</c:v>
                </c:pt>
                <c:pt idx="349">
                  <c:v>194.10284490000001</c:v>
                </c:pt>
                <c:pt idx="350">
                  <c:v>192.0776888</c:v>
                </c:pt>
                <c:pt idx="351">
                  <c:v>195.41700990000001</c:v>
                </c:pt>
                <c:pt idx="352">
                  <c:v>198.3363712</c:v>
                </c:pt>
                <c:pt idx="353">
                  <c:v>199.00891000000001</c:v>
                </c:pt>
                <c:pt idx="354">
                  <c:v>196.24071909999998</c:v>
                </c:pt>
                <c:pt idx="355">
                  <c:v>196.97828760000004</c:v>
                </c:pt>
                <c:pt idx="356">
                  <c:v>197.43198740000034</c:v>
                </c:pt>
                <c:pt idx="357">
                  <c:v>196.0752233</c:v>
                </c:pt>
                <c:pt idx="358">
                  <c:v>199.54064539999999</c:v>
                </c:pt>
                <c:pt idx="359">
                  <c:v>199.52273870000033</c:v>
                </c:pt>
                <c:pt idx="360">
                  <c:v>198.13675839999999</c:v>
                </c:pt>
                <c:pt idx="361">
                  <c:v>195.01288339999999</c:v>
                </c:pt>
                <c:pt idx="362">
                  <c:v>198.49376189999998</c:v>
                </c:pt>
                <c:pt idx="363">
                  <c:v>198.80062650000033</c:v>
                </c:pt>
                <c:pt idx="364">
                  <c:v>199.33179650000034</c:v>
                </c:pt>
                <c:pt idx="365">
                  <c:v>199.51633000000001</c:v>
                </c:pt>
                <c:pt idx="366">
                  <c:v>201.18994890000027</c:v>
                </c:pt>
                <c:pt idx="367">
                  <c:v>200.17360099999965</c:v>
                </c:pt>
                <c:pt idx="368">
                  <c:v>195.84224740000067</c:v>
                </c:pt>
                <c:pt idx="369">
                  <c:v>198.37331559999998</c:v>
                </c:pt>
                <c:pt idx="370">
                  <c:v>200.4687792</c:v>
                </c:pt>
                <c:pt idx="371">
                  <c:v>198.74068609999998</c:v>
                </c:pt>
                <c:pt idx="372">
                  <c:v>198.02630210000001</c:v>
                </c:pt>
                <c:pt idx="373">
                  <c:v>194.42384650000034</c:v>
                </c:pt>
                <c:pt idx="374">
                  <c:v>191.54991169999965</c:v>
                </c:pt>
                <c:pt idx="375">
                  <c:v>189.07727600000001</c:v>
                </c:pt>
                <c:pt idx="376">
                  <c:v>195.6230314</c:v>
                </c:pt>
                <c:pt idx="377">
                  <c:v>193.49194290000034</c:v>
                </c:pt>
                <c:pt idx="378">
                  <c:v>194.82948090000033</c:v>
                </c:pt>
                <c:pt idx="379">
                  <c:v>194.6675664</c:v>
                </c:pt>
                <c:pt idx="380">
                  <c:v>193.86854960000034</c:v>
                </c:pt>
                <c:pt idx="381">
                  <c:v>190.91224390000033</c:v>
                </c:pt>
                <c:pt idx="382">
                  <c:v>191.96874050000034</c:v>
                </c:pt>
                <c:pt idx="383">
                  <c:v>186.26799389999999</c:v>
                </c:pt>
                <c:pt idx="384">
                  <c:v>184.17686559999956</c:v>
                </c:pt>
                <c:pt idx="385">
                  <c:v>180.32145400000007</c:v>
                </c:pt>
                <c:pt idx="386">
                  <c:v>179.73882569999998</c:v>
                </c:pt>
                <c:pt idx="387">
                  <c:v>173.63206769999999</c:v>
                </c:pt>
                <c:pt idx="388">
                  <c:v>178.06313349999999</c:v>
                </c:pt>
                <c:pt idx="389">
                  <c:v>181.88763250000034</c:v>
                </c:pt>
                <c:pt idx="390">
                  <c:v>182.15585630000001</c:v>
                </c:pt>
                <c:pt idx="391">
                  <c:v>185.69969109999965</c:v>
                </c:pt>
                <c:pt idx="392">
                  <c:v>181.184935</c:v>
                </c:pt>
                <c:pt idx="393">
                  <c:v>182.45518140000001</c:v>
                </c:pt>
                <c:pt idx="394">
                  <c:v>187.8128729</c:v>
                </c:pt>
                <c:pt idx="395">
                  <c:v>188.22623540000001</c:v>
                </c:pt>
                <c:pt idx="396">
                  <c:v>182.89794860000046</c:v>
                </c:pt>
                <c:pt idx="397">
                  <c:v>183.23007119999966</c:v>
                </c:pt>
                <c:pt idx="398">
                  <c:v>183.4621047</c:v>
                </c:pt>
                <c:pt idx="399">
                  <c:v>184.941577</c:v>
                </c:pt>
                <c:pt idx="400">
                  <c:v>186.83742770000046</c:v>
                </c:pt>
                <c:pt idx="401">
                  <c:v>189.285371</c:v>
                </c:pt>
                <c:pt idx="402">
                  <c:v>189.27896219999965</c:v>
                </c:pt>
                <c:pt idx="403">
                  <c:v>191.37103300000001</c:v>
                </c:pt>
                <c:pt idx="404">
                  <c:v>191.76686579999955</c:v>
                </c:pt>
                <c:pt idx="405">
                  <c:v>193.7301966</c:v>
                </c:pt>
                <c:pt idx="406">
                  <c:v>198.9193764</c:v>
                </c:pt>
                <c:pt idx="407">
                  <c:v>196.81052990000001</c:v>
                </c:pt>
                <c:pt idx="408">
                  <c:v>196.15759419999998</c:v>
                </c:pt>
                <c:pt idx="409">
                  <c:v>194.39161440000001</c:v>
                </c:pt>
                <c:pt idx="410">
                  <c:v>194.5942431</c:v>
                </c:pt>
                <c:pt idx="411">
                  <c:v>196.97432929999999</c:v>
                </c:pt>
                <c:pt idx="412">
                  <c:v>193.34491929999999</c:v>
                </c:pt>
                <c:pt idx="413">
                  <c:v>193.93452169999998</c:v>
                </c:pt>
                <c:pt idx="414">
                  <c:v>192.5983032</c:v>
                </c:pt>
                <c:pt idx="415">
                  <c:v>193.41051449999998</c:v>
                </c:pt>
                <c:pt idx="416">
                  <c:v>193.4059906</c:v>
                </c:pt>
                <c:pt idx="417">
                  <c:v>195.0988357</c:v>
                </c:pt>
                <c:pt idx="418">
                  <c:v>193.90304359999999</c:v>
                </c:pt>
                <c:pt idx="419">
                  <c:v>196.19906239999995</c:v>
                </c:pt>
                <c:pt idx="420">
                  <c:v>198.09095479999965</c:v>
                </c:pt>
                <c:pt idx="421">
                  <c:v>198.3177105</c:v>
                </c:pt>
                <c:pt idx="422">
                  <c:v>198.9940192</c:v>
                </c:pt>
                <c:pt idx="423">
                  <c:v>201.12529620000001</c:v>
                </c:pt>
                <c:pt idx="424">
                  <c:v>200.84123900000037</c:v>
                </c:pt>
                <c:pt idx="425">
                  <c:v>201.33829190000037</c:v>
                </c:pt>
                <c:pt idx="426">
                  <c:v>199.61660759999998</c:v>
                </c:pt>
                <c:pt idx="427">
                  <c:v>200.71796529999952</c:v>
                </c:pt>
                <c:pt idx="428">
                  <c:v>200.23467229999937</c:v>
                </c:pt>
                <c:pt idx="429">
                  <c:v>200.65764800000034</c:v>
                </c:pt>
                <c:pt idx="430">
                  <c:v>202.7353933</c:v>
                </c:pt>
                <c:pt idx="431">
                  <c:v>203.48295190000007</c:v>
                </c:pt>
                <c:pt idx="432">
                  <c:v>205.45834610000068</c:v>
                </c:pt>
                <c:pt idx="433">
                  <c:v>205.51885199999998</c:v>
                </c:pt>
                <c:pt idx="434">
                  <c:v>206.9789097</c:v>
                </c:pt>
                <c:pt idx="435">
                  <c:v>206.63962439999995</c:v>
                </c:pt>
                <c:pt idx="436">
                  <c:v>208.25273740000034</c:v>
                </c:pt>
                <c:pt idx="437">
                  <c:v>207.08503050000004</c:v>
                </c:pt>
                <c:pt idx="438">
                  <c:v>206.38779930000047</c:v>
                </c:pt>
                <c:pt idx="439">
                  <c:v>207.87895810000001</c:v>
                </c:pt>
                <c:pt idx="440">
                  <c:v>208.21466199999952</c:v>
                </c:pt>
                <c:pt idx="441">
                  <c:v>208.9443139</c:v>
                </c:pt>
                <c:pt idx="442">
                  <c:v>207.00887979999999</c:v>
                </c:pt>
                <c:pt idx="443">
                  <c:v>204.26104610000004</c:v>
                </c:pt>
                <c:pt idx="444">
                  <c:v>202.65000650000007</c:v>
                </c:pt>
                <c:pt idx="445">
                  <c:v>205.12490409999998</c:v>
                </c:pt>
                <c:pt idx="446">
                  <c:v>204.9494182</c:v>
                </c:pt>
                <c:pt idx="447">
                  <c:v>206.25566649999999</c:v>
                </c:pt>
                <c:pt idx="448">
                  <c:v>207.40131980000046</c:v>
                </c:pt>
                <c:pt idx="449">
                  <c:v>209.80100920000001</c:v>
                </c:pt>
                <c:pt idx="450">
                  <c:v>209.1527858</c:v>
                </c:pt>
                <c:pt idx="451">
                  <c:v>209.64588039999998</c:v>
                </c:pt>
                <c:pt idx="452">
                  <c:v>208.68249870000034</c:v>
                </c:pt>
                <c:pt idx="453">
                  <c:v>208.7829649</c:v>
                </c:pt>
                <c:pt idx="454">
                  <c:v>209.23798409999998</c:v>
                </c:pt>
                <c:pt idx="455">
                  <c:v>209.00708159999999</c:v>
                </c:pt>
                <c:pt idx="456">
                  <c:v>211.18076930000001</c:v>
                </c:pt>
                <c:pt idx="457">
                  <c:v>210.56402409999998</c:v>
                </c:pt>
                <c:pt idx="458">
                  <c:v>214.47032860000004</c:v>
                </c:pt>
                <c:pt idx="459">
                  <c:v>214.86766929999999</c:v>
                </c:pt>
                <c:pt idx="460">
                  <c:v>215.64369009999959</c:v>
                </c:pt>
                <c:pt idx="461">
                  <c:v>218.13536349999998</c:v>
                </c:pt>
                <c:pt idx="462">
                  <c:v>217.51013610000001</c:v>
                </c:pt>
                <c:pt idx="463">
                  <c:v>217.54915399999959</c:v>
                </c:pt>
                <c:pt idx="464">
                  <c:v>218.03150449999998</c:v>
                </c:pt>
                <c:pt idx="465">
                  <c:v>218.29200019999999</c:v>
                </c:pt>
                <c:pt idx="466">
                  <c:v>220.85454650000034</c:v>
                </c:pt>
                <c:pt idx="467">
                  <c:v>220.5375033</c:v>
                </c:pt>
                <c:pt idx="468">
                  <c:v>222.76378019999956</c:v>
                </c:pt>
                <c:pt idx="469">
                  <c:v>222.3867965000004</c:v>
                </c:pt>
                <c:pt idx="470">
                  <c:v>222.8278674000004</c:v>
                </c:pt>
                <c:pt idx="471">
                  <c:v>222.46106230000001</c:v>
                </c:pt>
                <c:pt idx="472">
                  <c:v>223.4572416000004</c:v>
                </c:pt>
                <c:pt idx="473">
                  <c:v>224.2374092</c:v>
                </c:pt>
                <c:pt idx="474">
                  <c:v>222.93285729999999</c:v>
                </c:pt>
                <c:pt idx="475">
                  <c:v>223.66741000000007</c:v>
                </c:pt>
                <c:pt idx="476">
                  <c:v>226.47197969999999</c:v>
                </c:pt>
                <c:pt idx="477">
                  <c:v>225.5153838</c:v>
                </c:pt>
                <c:pt idx="478">
                  <c:v>227.01653259999998</c:v>
                </c:pt>
                <c:pt idx="479">
                  <c:v>226.60317009999972</c:v>
                </c:pt>
                <c:pt idx="480">
                  <c:v>229.37701569999999</c:v>
                </c:pt>
                <c:pt idx="481">
                  <c:v>229.54533890000027</c:v>
                </c:pt>
                <c:pt idx="482">
                  <c:v>230.5209725</c:v>
                </c:pt>
                <c:pt idx="483">
                  <c:v>232.51031519999998</c:v>
                </c:pt>
                <c:pt idx="484">
                  <c:v>231.6538084</c:v>
                </c:pt>
                <c:pt idx="485">
                  <c:v>229.32518040000033</c:v>
                </c:pt>
                <c:pt idx="486">
                  <c:v>231.04196389999998</c:v>
                </c:pt>
                <c:pt idx="487">
                  <c:v>230.44369089999998</c:v>
                </c:pt>
                <c:pt idx="488">
                  <c:v>234.55356649999999</c:v>
                </c:pt>
                <c:pt idx="489">
                  <c:v>235.10942890000001</c:v>
                </c:pt>
                <c:pt idx="490">
                  <c:v>234.57071930000001</c:v>
                </c:pt>
                <c:pt idx="491">
                  <c:v>231.66851069999998</c:v>
                </c:pt>
                <c:pt idx="492">
                  <c:v>232.60965039999965</c:v>
                </c:pt>
                <c:pt idx="493">
                  <c:v>231.11340229999965</c:v>
                </c:pt>
                <c:pt idx="494">
                  <c:v>232.32578169999999</c:v>
                </c:pt>
                <c:pt idx="495">
                  <c:v>231.95294490000046</c:v>
                </c:pt>
                <c:pt idx="496">
                  <c:v>235.16484549999998</c:v>
                </c:pt>
                <c:pt idx="497">
                  <c:v>234.30551130000001</c:v>
                </c:pt>
                <c:pt idx="498">
                  <c:v>231.62176479999965</c:v>
                </c:pt>
                <c:pt idx="499">
                  <c:v>231.96274650000046</c:v>
                </c:pt>
                <c:pt idx="500">
                  <c:v>232.38515660000004</c:v>
                </c:pt>
                <c:pt idx="501">
                  <c:v>235.85227520000001</c:v>
                </c:pt>
                <c:pt idx="502">
                  <c:v>235.82607479999999</c:v>
                </c:pt>
                <c:pt idx="503">
                  <c:v>236.88521040000043</c:v>
                </c:pt>
                <c:pt idx="504">
                  <c:v>239.14956259999931</c:v>
                </c:pt>
                <c:pt idx="505">
                  <c:v>239.71013730000001</c:v>
                </c:pt>
                <c:pt idx="506">
                  <c:v>242.01086839999999</c:v>
                </c:pt>
                <c:pt idx="507">
                  <c:v>243.18215660000001</c:v>
                </c:pt>
                <c:pt idx="508">
                  <c:v>242.16580869999999</c:v>
                </c:pt>
                <c:pt idx="509">
                  <c:v>241.13475849999998</c:v>
                </c:pt>
                <c:pt idx="510">
                  <c:v>236.16875299999998</c:v>
                </c:pt>
                <c:pt idx="511">
                  <c:v>234.3234180000004</c:v>
                </c:pt>
                <c:pt idx="512">
                  <c:v>233.79243660000037</c:v>
                </c:pt>
                <c:pt idx="513">
                  <c:v>232.96665389999998</c:v>
                </c:pt>
                <c:pt idx="514">
                  <c:v>234.66006439999998</c:v>
                </c:pt>
                <c:pt idx="515">
                  <c:v>234.9789926</c:v>
                </c:pt>
                <c:pt idx="516">
                  <c:v>235.30753379999999</c:v>
                </c:pt>
                <c:pt idx="517">
                  <c:v>229.5711623</c:v>
                </c:pt>
                <c:pt idx="518">
                  <c:v>228.60966549999952</c:v>
                </c:pt>
                <c:pt idx="519">
                  <c:v>230.16886980000001</c:v>
                </c:pt>
                <c:pt idx="520">
                  <c:v>227.4615618</c:v>
                </c:pt>
                <c:pt idx="521">
                  <c:v>228.81191720000001</c:v>
                </c:pt>
                <c:pt idx="522">
                  <c:v>225.36760620000001</c:v>
                </c:pt>
                <c:pt idx="523">
                  <c:v>228.8075819</c:v>
                </c:pt>
                <c:pt idx="524">
                  <c:v>231.41065389999972</c:v>
                </c:pt>
                <c:pt idx="525">
                  <c:v>230.62388909999999</c:v>
                </c:pt>
                <c:pt idx="526">
                  <c:v>231.35825320000001</c:v>
                </c:pt>
                <c:pt idx="527">
                  <c:v>232.19044460000001</c:v>
                </c:pt>
                <c:pt idx="528">
                  <c:v>231.82703240000046</c:v>
                </c:pt>
                <c:pt idx="529">
                  <c:v>233.17964969999966</c:v>
                </c:pt>
                <c:pt idx="530">
                  <c:v>232.00892700000034</c:v>
                </c:pt>
                <c:pt idx="531">
                  <c:v>231.05365039999998</c:v>
                </c:pt>
                <c:pt idx="532">
                  <c:v>231.97179409999998</c:v>
                </c:pt>
                <c:pt idx="533">
                  <c:v>229.3986922</c:v>
                </c:pt>
                <c:pt idx="534">
                  <c:v>227.43517299999999</c:v>
                </c:pt>
                <c:pt idx="535">
                  <c:v>228.7806276</c:v>
                </c:pt>
                <c:pt idx="536">
                  <c:v>226.65048150000001</c:v>
                </c:pt>
                <c:pt idx="537">
                  <c:v>229.05865299999999</c:v>
                </c:pt>
                <c:pt idx="538">
                  <c:v>229.61432690000001</c:v>
                </c:pt>
                <c:pt idx="539">
                  <c:v>229.63449549999999</c:v>
                </c:pt>
                <c:pt idx="540">
                  <c:v>230.56432569999998</c:v>
                </c:pt>
                <c:pt idx="541">
                  <c:v>231.28492990000001</c:v>
                </c:pt>
                <c:pt idx="542">
                  <c:v>232.89823140000047</c:v>
                </c:pt>
                <c:pt idx="543">
                  <c:v>234.77975669999952</c:v>
                </c:pt>
                <c:pt idx="544">
                  <c:v>234.9367704</c:v>
                </c:pt>
                <c:pt idx="545">
                  <c:v>234.90114550000001</c:v>
                </c:pt>
                <c:pt idx="546">
                  <c:v>237.01338479999956</c:v>
                </c:pt>
                <c:pt idx="547">
                  <c:v>238.0544251</c:v>
                </c:pt>
                <c:pt idx="548">
                  <c:v>239.61023660000001</c:v>
                </c:pt>
                <c:pt idx="549">
                  <c:v>239.48055419999972</c:v>
                </c:pt>
                <c:pt idx="550">
                  <c:v>237.41996169999959</c:v>
                </c:pt>
                <c:pt idx="551">
                  <c:v>233.17022509999998</c:v>
                </c:pt>
                <c:pt idx="552">
                  <c:v>233.64296259999998</c:v>
                </c:pt>
                <c:pt idx="553">
                  <c:v>236.33820710000043</c:v>
                </c:pt>
                <c:pt idx="554">
                  <c:v>237.74680649999999</c:v>
                </c:pt>
                <c:pt idx="555">
                  <c:v>236.73667879999965</c:v>
                </c:pt>
                <c:pt idx="556">
                  <c:v>236.14877279999965</c:v>
                </c:pt>
                <c:pt idx="557">
                  <c:v>236.93365279999955</c:v>
                </c:pt>
                <c:pt idx="558">
                  <c:v>237.47028900000001</c:v>
                </c:pt>
                <c:pt idx="559">
                  <c:v>234.9686255</c:v>
                </c:pt>
                <c:pt idx="560">
                  <c:v>232.13446249999998</c:v>
                </c:pt>
                <c:pt idx="561">
                  <c:v>230.73736119999998</c:v>
                </c:pt>
                <c:pt idx="562">
                  <c:v>231.225178</c:v>
                </c:pt>
                <c:pt idx="563">
                  <c:v>234.45479680000034</c:v>
                </c:pt>
                <c:pt idx="564">
                  <c:v>234.72226670000001</c:v>
                </c:pt>
                <c:pt idx="565">
                  <c:v>234.35470770000001</c:v>
                </c:pt>
                <c:pt idx="566">
                  <c:v>231.04290640000033</c:v>
                </c:pt>
                <c:pt idx="567">
                  <c:v>231.69414559999998</c:v>
                </c:pt>
                <c:pt idx="568">
                  <c:v>234.98238540000034</c:v>
                </c:pt>
                <c:pt idx="569">
                  <c:v>235.04119489999999</c:v>
                </c:pt>
                <c:pt idx="570">
                  <c:v>235.66906109999965</c:v>
                </c:pt>
                <c:pt idx="571">
                  <c:v>235.5182677</c:v>
                </c:pt>
                <c:pt idx="572">
                  <c:v>235.29377389999965</c:v>
                </c:pt>
                <c:pt idx="573">
                  <c:v>232.61323169999972</c:v>
                </c:pt>
                <c:pt idx="574">
                  <c:v>228.0590809</c:v>
                </c:pt>
                <c:pt idx="575">
                  <c:v>226.4576544</c:v>
                </c:pt>
                <c:pt idx="576">
                  <c:v>229.1500715</c:v>
                </c:pt>
                <c:pt idx="577">
                  <c:v>228.74707599999965</c:v>
                </c:pt>
                <c:pt idx="578">
                  <c:v>230.32079419999999</c:v>
                </c:pt>
                <c:pt idx="579">
                  <c:v>230.62784740000046</c:v>
                </c:pt>
                <c:pt idx="580">
                  <c:v>232.62322180000001</c:v>
                </c:pt>
                <c:pt idx="581">
                  <c:v>232.19327199999998</c:v>
                </c:pt>
                <c:pt idx="582">
                  <c:v>228.70862369999998</c:v>
                </c:pt>
                <c:pt idx="583">
                  <c:v>229.0256669</c:v>
                </c:pt>
                <c:pt idx="584">
                  <c:v>225.45129650000047</c:v>
                </c:pt>
                <c:pt idx="585">
                  <c:v>228.4164614</c:v>
                </c:pt>
                <c:pt idx="586">
                  <c:v>228.21873339999999</c:v>
                </c:pt>
                <c:pt idx="587">
                  <c:v>232.50428349999999</c:v>
                </c:pt>
                <c:pt idx="588">
                  <c:v>230.47988129999962</c:v>
                </c:pt>
                <c:pt idx="589">
                  <c:v>231.70488969999965</c:v>
                </c:pt>
                <c:pt idx="590">
                  <c:v>233.99242640000068</c:v>
                </c:pt>
                <c:pt idx="591">
                  <c:v>234.87475659999998</c:v>
                </c:pt>
                <c:pt idx="592">
                  <c:v>236.71575619999959</c:v>
                </c:pt>
                <c:pt idx="593">
                  <c:v>236.96701580000001</c:v>
                </c:pt>
                <c:pt idx="594">
                  <c:v>235.64286079999965</c:v>
                </c:pt>
                <c:pt idx="595">
                  <c:v>232.23907549999953</c:v>
                </c:pt>
                <c:pt idx="596">
                  <c:v>233.69498630000001</c:v>
                </c:pt>
                <c:pt idx="597">
                  <c:v>227.51358549999952</c:v>
                </c:pt>
                <c:pt idx="598">
                  <c:v>229.15648030000034</c:v>
                </c:pt>
                <c:pt idx="599">
                  <c:v>227.1160563</c:v>
                </c:pt>
                <c:pt idx="600">
                  <c:v>228.09338640000001</c:v>
                </c:pt>
                <c:pt idx="601">
                  <c:v>232.47223990000043</c:v>
                </c:pt>
                <c:pt idx="602">
                  <c:v>233.73268469999965</c:v>
                </c:pt>
                <c:pt idx="603">
                  <c:v>235.04609569999965</c:v>
                </c:pt>
                <c:pt idx="604">
                  <c:v>236.73667879999965</c:v>
                </c:pt>
                <c:pt idx="605">
                  <c:v>238.11455399999932</c:v>
                </c:pt>
                <c:pt idx="606">
                  <c:v>237.13929730000001</c:v>
                </c:pt>
                <c:pt idx="607">
                  <c:v>236.99924790000034</c:v>
                </c:pt>
                <c:pt idx="608">
                  <c:v>240.10446219999992</c:v>
                </c:pt>
                <c:pt idx="609">
                  <c:v>242.21839790000001</c:v>
                </c:pt>
                <c:pt idx="610">
                  <c:v>244.30047860000033</c:v>
                </c:pt>
                <c:pt idx="611">
                  <c:v>245.39957439999998</c:v>
                </c:pt>
                <c:pt idx="612">
                  <c:v>244.70724390000001</c:v>
                </c:pt>
                <c:pt idx="613">
                  <c:v>246.25947409999998</c:v>
                </c:pt>
                <c:pt idx="614">
                  <c:v>247.4017345</c:v>
                </c:pt>
                <c:pt idx="615">
                  <c:v>248.03638650000033</c:v>
                </c:pt>
                <c:pt idx="616">
                  <c:v>246.03554579999965</c:v>
                </c:pt>
                <c:pt idx="617">
                  <c:v>243.86242360000034</c:v>
                </c:pt>
                <c:pt idx="618">
                  <c:v>245.94582369999998</c:v>
                </c:pt>
                <c:pt idx="619">
                  <c:v>245.10590409999998</c:v>
                </c:pt>
                <c:pt idx="620">
                  <c:v>245.60465349999953</c:v>
                </c:pt>
                <c:pt idx="621">
                  <c:v>245.6244451</c:v>
                </c:pt>
                <c:pt idx="622">
                  <c:v>245.09120179999999</c:v>
                </c:pt>
                <c:pt idx="623">
                  <c:v>249.86211820000034</c:v>
                </c:pt>
                <c:pt idx="624">
                  <c:v>251.82865340000001</c:v>
                </c:pt>
                <c:pt idx="625">
                  <c:v>250.5781987</c:v>
                </c:pt>
                <c:pt idx="626">
                  <c:v>252.23164890000001</c:v>
                </c:pt>
                <c:pt idx="627">
                  <c:v>253.38578430000001</c:v>
                </c:pt>
                <c:pt idx="628">
                  <c:v>253.38163750000047</c:v>
                </c:pt>
                <c:pt idx="629">
                  <c:v>254.27584269999966</c:v>
                </c:pt>
                <c:pt idx="630">
                  <c:v>250.96724580000034</c:v>
                </c:pt>
                <c:pt idx="631">
                  <c:v>249.20070039999999</c:v>
                </c:pt>
                <c:pt idx="632">
                  <c:v>247.25527640000001</c:v>
                </c:pt>
                <c:pt idx="633">
                  <c:v>245.32380069999999</c:v>
                </c:pt>
                <c:pt idx="634">
                  <c:v>247.83149590000033</c:v>
                </c:pt>
                <c:pt idx="635">
                  <c:v>249.47401359999998</c:v>
                </c:pt>
                <c:pt idx="636">
                  <c:v>252.95394960000004</c:v>
                </c:pt>
                <c:pt idx="637">
                  <c:v>247.24208189999999</c:v>
                </c:pt>
                <c:pt idx="638">
                  <c:v>250.52089710000001</c:v>
                </c:pt>
                <c:pt idx="639">
                  <c:v>246.76123930000034</c:v>
                </c:pt>
                <c:pt idx="640">
                  <c:v>247.03700280000001</c:v>
                </c:pt>
                <c:pt idx="641">
                  <c:v>248.85783380000046</c:v>
                </c:pt>
                <c:pt idx="642">
                  <c:v>251.09862459999999</c:v>
                </c:pt>
                <c:pt idx="643">
                  <c:v>251.38437820000001</c:v>
                </c:pt>
                <c:pt idx="644">
                  <c:v>244.05581620000001</c:v>
                </c:pt>
                <c:pt idx="645">
                  <c:v>244.86067629999999</c:v>
                </c:pt>
                <c:pt idx="646">
                  <c:v>244.03244320000007</c:v>
                </c:pt>
                <c:pt idx="647">
                  <c:v>246.36031720000034</c:v>
                </c:pt>
                <c:pt idx="648">
                  <c:v>248.312904</c:v>
                </c:pt>
                <c:pt idx="649">
                  <c:v>249.4163351</c:v>
                </c:pt>
                <c:pt idx="650">
                  <c:v>251.06714640000047</c:v>
                </c:pt>
                <c:pt idx="651">
                  <c:v>251.13500349999998</c:v>
                </c:pt>
                <c:pt idx="652">
                  <c:v>249.9056598</c:v>
                </c:pt>
                <c:pt idx="653">
                  <c:v>250.28697880000001</c:v>
                </c:pt>
                <c:pt idx="654">
                  <c:v>248.46501690000034</c:v>
                </c:pt>
                <c:pt idx="655">
                  <c:v>248.2248783</c:v>
                </c:pt>
                <c:pt idx="656">
                  <c:v>246.49452339999999</c:v>
                </c:pt>
                <c:pt idx="657">
                  <c:v>246.05401800000001</c:v>
                </c:pt>
                <c:pt idx="658">
                  <c:v>245.66629030000001</c:v>
                </c:pt>
                <c:pt idx="659">
                  <c:v>242.53676059999998</c:v>
                </c:pt>
                <c:pt idx="660">
                  <c:v>244.6205377</c:v>
                </c:pt>
                <c:pt idx="661">
                  <c:v>244.8919659</c:v>
                </c:pt>
                <c:pt idx="662">
                  <c:v>241.0772685</c:v>
                </c:pt>
                <c:pt idx="663">
                  <c:v>242.00822960000033</c:v>
                </c:pt>
                <c:pt idx="664">
                  <c:v>241.56244640000068</c:v>
                </c:pt>
                <c:pt idx="665">
                  <c:v>244.93249170000001</c:v>
                </c:pt>
                <c:pt idx="666">
                  <c:v>245.76487149999966</c:v>
                </c:pt>
                <c:pt idx="667">
                  <c:v>245.16867189999999</c:v>
                </c:pt>
                <c:pt idx="668">
                  <c:v>246.80233050000047</c:v>
                </c:pt>
                <c:pt idx="669">
                  <c:v>243.9025723</c:v>
                </c:pt>
                <c:pt idx="670">
                  <c:v>245.0512415000004</c:v>
                </c:pt>
                <c:pt idx="671">
                  <c:v>247.84883710000034</c:v>
                </c:pt>
                <c:pt idx="672">
                  <c:v>251.75683800000004</c:v>
                </c:pt>
                <c:pt idx="673">
                  <c:v>253.94240070000001</c:v>
                </c:pt>
                <c:pt idx="674">
                  <c:v>257.61949909999998</c:v>
                </c:pt>
                <c:pt idx="675">
                  <c:v>255.64203140000001</c:v>
                </c:pt>
                <c:pt idx="676">
                  <c:v>254.0044145</c:v>
                </c:pt>
                <c:pt idx="677">
                  <c:v>255.31311319999998</c:v>
                </c:pt>
                <c:pt idx="678">
                  <c:v>258.81302929999993</c:v>
                </c:pt>
                <c:pt idx="679">
                  <c:v>256.56809169999997</c:v>
                </c:pt>
                <c:pt idx="680">
                  <c:v>252.5174025</c:v>
                </c:pt>
                <c:pt idx="681">
                  <c:v>254.98099060000001</c:v>
                </c:pt>
                <c:pt idx="682">
                  <c:v>256.59843889999928</c:v>
                </c:pt>
                <c:pt idx="683">
                  <c:v>257.21047189999996</c:v>
                </c:pt>
                <c:pt idx="684">
                  <c:v>256.1575565</c:v>
                </c:pt>
                <c:pt idx="685">
                  <c:v>256.89380560000001</c:v>
                </c:pt>
                <c:pt idx="686">
                  <c:v>258.95345569999995</c:v>
                </c:pt>
                <c:pt idx="687">
                  <c:v>259.87612319999999</c:v>
                </c:pt>
                <c:pt idx="688">
                  <c:v>263.66650519999996</c:v>
                </c:pt>
                <c:pt idx="689">
                  <c:v>263.17661500000003</c:v>
                </c:pt>
                <c:pt idx="690">
                  <c:v>265.5186258</c:v>
                </c:pt>
                <c:pt idx="691">
                  <c:v>267.818603</c:v>
                </c:pt>
                <c:pt idx="692">
                  <c:v>265.42984620000004</c:v>
                </c:pt>
                <c:pt idx="693">
                  <c:v>264.77596799999969</c:v>
                </c:pt>
                <c:pt idx="694">
                  <c:v>269.24416660000031</c:v>
                </c:pt>
                <c:pt idx="695">
                  <c:v>266.58435859999969</c:v>
                </c:pt>
                <c:pt idx="696">
                  <c:v>263.11497809999997</c:v>
                </c:pt>
                <c:pt idx="697">
                  <c:v>260.96654839999928</c:v>
                </c:pt>
                <c:pt idx="698">
                  <c:v>251.29541</c:v>
                </c:pt>
                <c:pt idx="699">
                  <c:v>245.7081355</c:v>
                </c:pt>
                <c:pt idx="700">
                  <c:v>242.1232096</c:v>
                </c:pt>
                <c:pt idx="701">
                  <c:v>243.08621429999999</c:v>
                </c:pt>
                <c:pt idx="702">
                  <c:v>242.08701910000033</c:v>
                </c:pt>
                <c:pt idx="703">
                  <c:v>244.35476419999998</c:v>
                </c:pt>
                <c:pt idx="704">
                  <c:v>248.52872710000034</c:v>
                </c:pt>
                <c:pt idx="705">
                  <c:v>247.23322279999965</c:v>
                </c:pt>
                <c:pt idx="706">
                  <c:v>247.97135680000034</c:v>
                </c:pt>
                <c:pt idx="707">
                  <c:v>247.97569209999995</c:v>
                </c:pt>
                <c:pt idx="708">
                  <c:v>240.72874710000033</c:v>
                </c:pt>
                <c:pt idx="709">
                  <c:v>240.72554269999998</c:v>
                </c:pt>
                <c:pt idx="710">
                  <c:v>242.85173040000046</c:v>
                </c:pt>
                <c:pt idx="711">
                  <c:v>239.30582229999999</c:v>
                </c:pt>
                <c:pt idx="712">
                  <c:v>239.18537610000001</c:v>
                </c:pt>
                <c:pt idx="713">
                  <c:v>238.44931549999998</c:v>
                </c:pt>
                <c:pt idx="714">
                  <c:v>240.55043380000046</c:v>
                </c:pt>
                <c:pt idx="715">
                  <c:v>240.2386683</c:v>
                </c:pt>
                <c:pt idx="716">
                  <c:v>243.99681830000034</c:v>
                </c:pt>
                <c:pt idx="717">
                  <c:v>243.26867439999998</c:v>
                </c:pt>
                <c:pt idx="718">
                  <c:v>244.32177820000001</c:v>
                </c:pt>
                <c:pt idx="719">
                  <c:v>241.1607703</c:v>
                </c:pt>
                <c:pt idx="720">
                  <c:v>241.31326019999995</c:v>
                </c:pt>
                <c:pt idx="721">
                  <c:v>245.85421670000034</c:v>
                </c:pt>
                <c:pt idx="722">
                  <c:v>246.45889840000046</c:v>
                </c:pt>
                <c:pt idx="723">
                  <c:v>242.88792090000047</c:v>
                </c:pt>
                <c:pt idx="724">
                  <c:v>235.6366405</c:v>
                </c:pt>
                <c:pt idx="725">
                  <c:v>233.31668319999972</c:v>
                </c:pt>
                <c:pt idx="726">
                  <c:v>230.44463339999999</c:v>
                </c:pt>
                <c:pt idx="727">
                  <c:v>231.43025710000001</c:v>
                </c:pt>
                <c:pt idx="728">
                  <c:v>232.25170439999999</c:v>
                </c:pt>
                <c:pt idx="729">
                  <c:v>226.10234730000062</c:v>
                </c:pt>
                <c:pt idx="730">
                  <c:v>227.64251399999998</c:v>
                </c:pt>
                <c:pt idx="731">
                  <c:v>226.82068960000001</c:v>
                </c:pt>
                <c:pt idx="732">
                  <c:v>215.65537660000001</c:v>
                </c:pt>
                <c:pt idx="733">
                  <c:v>214.85994120000001</c:v>
                </c:pt>
                <c:pt idx="734">
                  <c:v>207.67915679999959</c:v>
                </c:pt>
                <c:pt idx="735">
                  <c:v>217.72068149999998</c:v>
                </c:pt>
                <c:pt idx="736">
                  <c:v>217.2322992</c:v>
                </c:pt>
                <c:pt idx="737">
                  <c:v>217.95742720000047</c:v>
                </c:pt>
                <c:pt idx="738">
                  <c:v>216.38955229999965</c:v>
                </c:pt>
                <c:pt idx="739">
                  <c:v>208.15302519999995</c:v>
                </c:pt>
                <c:pt idx="740">
                  <c:v>204.1464431</c:v>
                </c:pt>
                <c:pt idx="741">
                  <c:v>205.5000028</c:v>
                </c:pt>
                <c:pt idx="742">
                  <c:v>213.16709610000001</c:v>
                </c:pt>
                <c:pt idx="743">
                  <c:v>215.25143870000034</c:v>
                </c:pt>
                <c:pt idx="744">
                  <c:v>218.80488650000001</c:v>
                </c:pt>
                <c:pt idx="745">
                  <c:v>221.99831490000034</c:v>
                </c:pt>
                <c:pt idx="746">
                  <c:v>225.92799240000033</c:v>
                </c:pt>
                <c:pt idx="747">
                  <c:v>225.1859001</c:v>
                </c:pt>
                <c:pt idx="748">
                  <c:v>226.74171149999998</c:v>
                </c:pt>
                <c:pt idx="749">
                  <c:v>231.66304449999998</c:v>
                </c:pt>
                <c:pt idx="750">
                  <c:v>225.12030490000001</c:v>
                </c:pt>
                <c:pt idx="751">
                  <c:v>228.09432880000034</c:v>
                </c:pt>
                <c:pt idx="752">
                  <c:v>223.63857069999995</c:v>
                </c:pt>
                <c:pt idx="753">
                  <c:v>222.7515282</c:v>
                </c:pt>
                <c:pt idx="754">
                  <c:v>227.2419688</c:v>
                </c:pt>
                <c:pt idx="755">
                  <c:v>230.17226269999998</c:v>
                </c:pt>
                <c:pt idx="756">
                  <c:v>229.89178680000046</c:v>
                </c:pt>
                <c:pt idx="757">
                  <c:v>235.99760240000001</c:v>
                </c:pt>
                <c:pt idx="758">
                  <c:v>241.47950999999998</c:v>
                </c:pt>
                <c:pt idx="759">
                  <c:v>238.72074369999999</c:v>
                </c:pt>
                <c:pt idx="760">
                  <c:v>230.4178675</c:v>
                </c:pt>
                <c:pt idx="761">
                  <c:v>232.55423379999999</c:v>
                </c:pt>
                <c:pt idx="762">
                  <c:v>229.57436659999999</c:v>
                </c:pt>
                <c:pt idx="763">
                  <c:v>234.02164260000001</c:v>
                </c:pt>
                <c:pt idx="764">
                  <c:v>233.18794330000034</c:v>
                </c:pt>
                <c:pt idx="765">
                  <c:v>234.55827880000047</c:v>
                </c:pt>
                <c:pt idx="766">
                  <c:v>235.0932186</c:v>
                </c:pt>
                <c:pt idx="767">
                  <c:v>228.84980409999972</c:v>
                </c:pt>
                <c:pt idx="768">
                  <c:v>228.8013617</c:v>
                </c:pt>
                <c:pt idx="769">
                  <c:v>233.07447119999998</c:v>
                </c:pt>
                <c:pt idx="770">
                  <c:v>230.38959369999998</c:v>
                </c:pt>
                <c:pt idx="771">
                  <c:v>230.88080340000027</c:v>
                </c:pt>
                <c:pt idx="772">
                  <c:v>227.76164080000001</c:v>
                </c:pt>
                <c:pt idx="773">
                  <c:v>224.36087140000001</c:v>
                </c:pt>
                <c:pt idx="774">
                  <c:v>219.9249049</c:v>
                </c:pt>
                <c:pt idx="775">
                  <c:v>221.40117280000001</c:v>
                </c:pt>
                <c:pt idx="776">
                  <c:v>219.02391399999999</c:v>
                </c:pt>
                <c:pt idx="777">
                  <c:v>220.26305919999959</c:v>
                </c:pt>
                <c:pt idx="778">
                  <c:v>215.89928509999999</c:v>
                </c:pt>
                <c:pt idx="779">
                  <c:v>219.1292809</c:v>
                </c:pt>
                <c:pt idx="780">
                  <c:v>220.89978459999998</c:v>
                </c:pt>
                <c:pt idx="781">
                  <c:v>223.90340169999999</c:v>
                </c:pt>
                <c:pt idx="782">
                  <c:v>230.59014900000034</c:v>
                </c:pt>
                <c:pt idx="783">
                  <c:v>231.80856019999999</c:v>
                </c:pt>
                <c:pt idx="784">
                  <c:v>231.49302489999999</c:v>
                </c:pt>
                <c:pt idx="785">
                  <c:v>229.70706489999998</c:v>
                </c:pt>
                <c:pt idx="786">
                  <c:v>232.56535479999965</c:v>
                </c:pt>
                <c:pt idx="787">
                  <c:v>229.49105319999998</c:v>
                </c:pt>
                <c:pt idx="788">
                  <c:v>225.66598869999999</c:v>
                </c:pt>
                <c:pt idx="789">
                  <c:v>226.89307049999999</c:v>
                </c:pt>
                <c:pt idx="790">
                  <c:v>224.84831120000001</c:v>
                </c:pt>
                <c:pt idx="791">
                  <c:v>223.56185449999998</c:v>
                </c:pt>
                <c:pt idx="792">
                  <c:v>220.90675880000001</c:v>
                </c:pt>
                <c:pt idx="793">
                  <c:v>224.70599989999999</c:v>
                </c:pt>
                <c:pt idx="794">
                  <c:v>223.68475119999965</c:v>
                </c:pt>
                <c:pt idx="795">
                  <c:v>223.30795610000001</c:v>
                </c:pt>
                <c:pt idx="796">
                  <c:v>228.31335630000001</c:v>
                </c:pt>
                <c:pt idx="797">
                  <c:v>227.791988</c:v>
                </c:pt>
                <c:pt idx="798">
                  <c:v>228.59138179999999</c:v>
                </c:pt>
                <c:pt idx="799">
                  <c:v>227.27608589999966</c:v>
                </c:pt>
                <c:pt idx="800">
                  <c:v>226.47933090000001</c:v>
                </c:pt>
                <c:pt idx="801">
                  <c:v>226.68949929999999</c:v>
                </c:pt>
                <c:pt idx="802">
                  <c:v>227.71753369999965</c:v>
                </c:pt>
                <c:pt idx="803">
                  <c:v>227.61367469999931</c:v>
                </c:pt>
                <c:pt idx="804">
                  <c:v>229.87896940000007</c:v>
                </c:pt>
                <c:pt idx="805">
                  <c:v>231.52488</c:v>
                </c:pt>
                <c:pt idx="806">
                  <c:v>230.32757990000007</c:v>
                </c:pt>
                <c:pt idx="807">
                  <c:v>230.02900890000001</c:v>
                </c:pt>
                <c:pt idx="808">
                  <c:v>229.07806769999999</c:v>
                </c:pt>
                <c:pt idx="809">
                  <c:v>231.76143720000007</c:v>
                </c:pt>
                <c:pt idx="810">
                  <c:v>231.58142750000061</c:v>
                </c:pt>
                <c:pt idx="811">
                  <c:v>231.7139373</c:v>
                </c:pt>
                <c:pt idx="812">
                  <c:v>234.1801643</c:v>
                </c:pt>
                <c:pt idx="813">
                  <c:v>230.95186480000001</c:v>
                </c:pt>
                <c:pt idx="814">
                  <c:v>235.79271180000001</c:v>
                </c:pt>
                <c:pt idx="815">
                  <c:v>235.9061839</c:v>
                </c:pt>
                <c:pt idx="816">
                  <c:v>238.02181600000034</c:v>
                </c:pt>
                <c:pt idx="817">
                  <c:v>239.55425449999998</c:v>
                </c:pt>
                <c:pt idx="818">
                  <c:v>240.19757709999999</c:v>
                </c:pt>
                <c:pt idx="819">
                  <c:v>239.93990880000001</c:v>
                </c:pt>
                <c:pt idx="820">
                  <c:v>241.7119204</c:v>
                </c:pt>
                <c:pt idx="821">
                  <c:v>244.3700321</c:v>
                </c:pt>
                <c:pt idx="822">
                  <c:v>245.6728875</c:v>
                </c:pt>
                <c:pt idx="823">
                  <c:v>242.43799090000007</c:v>
                </c:pt>
                <c:pt idx="824">
                  <c:v>245.4727092</c:v>
                </c:pt>
                <c:pt idx="825">
                  <c:v>245.00732290000033</c:v>
                </c:pt>
                <c:pt idx="826">
                  <c:v>247.58457159999998</c:v>
                </c:pt>
                <c:pt idx="827">
                  <c:v>248.933796</c:v>
                </c:pt>
                <c:pt idx="828">
                  <c:v>247.97418419999966</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29999956</c:v>
                </c:pt>
                <c:pt idx="840">
                  <c:v>251.078079</c:v>
                </c:pt>
                <c:pt idx="841">
                  <c:v>250.60364509999965</c:v>
                </c:pt>
                <c:pt idx="842">
                  <c:v>249.7806898</c:v>
                </c:pt>
                <c:pt idx="843">
                  <c:v>246.8471916</c:v>
                </c:pt>
                <c:pt idx="844">
                  <c:v>250.05532230000034</c:v>
                </c:pt>
                <c:pt idx="845">
                  <c:v>253.7676688</c:v>
                </c:pt>
                <c:pt idx="846">
                  <c:v>251.9144172</c:v>
                </c:pt>
                <c:pt idx="847">
                  <c:v>253.12453469999966</c:v>
                </c:pt>
                <c:pt idx="848">
                  <c:v>251.29861439999999</c:v>
                </c:pt>
                <c:pt idx="849">
                  <c:v>248.25824130000046</c:v>
                </c:pt>
                <c:pt idx="850">
                  <c:v>246.27436489999965</c:v>
                </c:pt>
                <c:pt idx="851">
                  <c:v>250.23363559999956</c:v>
                </c:pt>
                <c:pt idx="852">
                  <c:v>249.67815019999998</c:v>
                </c:pt>
                <c:pt idx="853">
                  <c:v>247.620385</c:v>
                </c:pt>
                <c:pt idx="854">
                  <c:v>249.2549861</c:v>
                </c:pt>
                <c:pt idx="855">
                  <c:v>251.4428106</c:v>
                </c:pt>
                <c:pt idx="856">
                  <c:v>251.35893180000065</c:v>
                </c:pt>
                <c:pt idx="857">
                  <c:v>251.70632219999999</c:v>
                </c:pt>
                <c:pt idx="858">
                  <c:v>251.59153069999999</c:v>
                </c:pt>
                <c:pt idx="859">
                  <c:v>250.86037090000033</c:v>
                </c:pt>
                <c:pt idx="860">
                  <c:v>252.54284890000034</c:v>
                </c:pt>
                <c:pt idx="861">
                  <c:v>250.81588679999999</c:v>
                </c:pt>
                <c:pt idx="862">
                  <c:v>251.71838569999966</c:v>
                </c:pt>
                <c:pt idx="863">
                  <c:v>250.69675999999998</c:v>
                </c:pt>
                <c:pt idx="864">
                  <c:v>255.34873810000033</c:v>
                </c:pt>
                <c:pt idx="865">
                  <c:v>254.38215210000001</c:v>
                </c:pt>
                <c:pt idx="866">
                  <c:v>253.57371069999965</c:v>
                </c:pt>
                <c:pt idx="867">
                  <c:v>254.78722100000007</c:v>
                </c:pt>
                <c:pt idx="868">
                  <c:v>256.48534379999921</c:v>
                </c:pt>
                <c:pt idx="869">
                  <c:v>258.3523553</c:v>
                </c:pt>
                <c:pt idx="870">
                  <c:v>253.73411719999999</c:v>
                </c:pt>
                <c:pt idx="871">
                  <c:v>253.21595319999938</c:v>
                </c:pt>
                <c:pt idx="872">
                  <c:v>252.03486339999998</c:v>
                </c:pt>
                <c:pt idx="873">
                  <c:v>251.06318809999999</c:v>
                </c:pt>
                <c:pt idx="874">
                  <c:v>253.20445519999953</c:v>
                </c:pt>
                <c:pt idx="875">
                  <c:v>254.69712190000001</c:v>
                </c:pt>
                <c:pt idx="876">
                  <c:v>253.06949499999999</c:v>
                </c:pt>
                <c:pt idx="877">
                  <c:v>252.69345389999998</c:v>
                </c:pt>
                <c:pt idx="878">
                  <c:v>253.62290700000034</c:v>
                </c:pt>
                <c:pt idx="879">
                  <c:v>254.5423701</c:v>
                </c:pt>
                <c:pt idx="880">
                  <c:v>254.37253900000007</c:v>
                </c:pt>
                <c:pt idx="881">
                  <c:v>252.4957259</c:v>
                </c:pt>
                <c:pt idx="882">
                  <c:v>253.1168065</c:v>
                </c:pt>
                <c:pt idx="883">
                  <c:v>253.30228240000034</c:v>
                </c:pt>
                <c:pt idx="884">
                  <c:v>254.37178499999999</c:v>
                </c:pt>
                <c:pt idx="885">
                  <c:v>254.84244910000047</c:v>
                </c:pt>
                <c:pt idx="886">
                  <c:v>257.04648400000002</c:v>
                </c:pt>
                <c:pt idx="887">
                  <c:v>257.0404522</c:v>
                </c:pt>
                <c:pt idx="888">
                  <c:v>258.71802939999969</c:v>
                </c:pt>
                <c:pt idx="889">
                  <c:v>258.35178980000001</c:v>
                </c:pt>
                <c:pt idx="890">
                  <c:v>257.52713809999921</c:v>
                </c:pt>
                <c:pt idx="891">
                  <c:v>254.2681145</c:v>
                </c:pt>
                <c:pt idx="892">
                  <c:v>254.9855144</c:v>
                </c:pt>
                <c:pt idx="893">
                  <c:v>251.69444720000001</c:v>
                </c:pt>
                <c:pt idx="894">
                  <c:v>251.80452640000001</c:v>
                </c:pt>
                <c:pt idx="895">
                  <c:v>250.84095629999999</c:v>
                </c:pt>
                <c:pt idx="896">
                  <c:v>246.90336209999998</c:v>
                </c:pt>
                <c:pt idx="897">
                  <c:v>247.4592245</c:v>
                </c:pt>
                <c:pt idx="898">
                  <c:v>242.23950899999966</c:v>
                </c:pt>
                <c:pt idx="899">
                  <c:v>242.87133360000001</c:v>
                </c:pt>
                <c:pt idx="900">
                  <c:v>239.51316329999949</c:v>
                </c:pt>
                <c:pt idx="901">
                  <c:v>238.14716309999972</c:v>
                </c:pt>
                <c:pt idx="902">
                  <c:v>241.00658399999998</c:v>
                </c:pt>
                <c:pt idx="903">
                  <c:v>236.50313740000001</c:v>
                </c:pt>
                <c:pt idx="904">
                  <c:v>237.36718400000001</c:v>
                </c:pt>
                <c:pt idx="905">
                  <c:v>235.20555979999952</c:v>
                </c:pt>
                <c:pt idx="906">
                  <c:v>236.56477429999956</c:v>
                </c:pt>
                <c:pt idx="907">
                  <c:v>236.85524020000034</c:v>
                </c:pt>
                <c:pt idx="908">
                  <c:v>235.81005299999998</c:v>
                </c:pt>
                <c:pt idx="909">
                  <c:v>234.77560989999998</c:v>
                </c:pt>
                <c:pt idx="910">
                  <c:v>231.07099169999998</c:v>
                </c:pt>
                <c:pt idx="911">
                  <c:v>228.36066779999999</c:v>
                </c:pt>
                <c:pt idx="912">
                  <c:v>229.82619170000001</c:v>
                </c:pt>
                <c:pt idx="913">
                  <c:v>236.19570730000001</c:v>
                </c:pt>
                <c:pt idx="914">
                  <c:v>236.5783457</c:v>
                </c:pt>
                <c:pt idx="915">
                  <c:v>233.69102800000007</c:v>
                </c:pt>
                <c:pt idx="916">
                  <c:v>237.42806680000047</c:v>
                </c:pt>
                <c:pt idx="917">
                  <c:v>237.4209041</c:v>
                </c:pt>
                <c:pt idx="918">
                  <c:v>238.21143880000034</c:v>
                </c:pt>
                <c:pt idx="919">
                  <c:v>235.41082729999999</c:v>
                </c:pt>
                <c:pt idx="920">
                  <c:v>239.75367889999998</c:v>
                </c:pt>
                <c:pt idx="921">
                  <c:v>240.67238800000001</c:v>
                </c:pt>
                <c:pt idx="922">
                  <c:v>242.62346690000001</c:v>
                </c:pt>
                <c:pt idx="923">
                  <c:v>244.01623290000001</c:v>
                </c:pt>
                <c:pt idx="924">
                  <c:v>240.76286409999992</c:v>
                </c:pt>
                <c:pt idx="925">
                  <c:v>239.77893680000034</c:v>
                </c:pt>
                <c:pt idx="926">
                  <c:v>238.19032770000001</c:v>
                </c:pt>
                <c:pt idx="927">
                  <c:v>238.01578429999955</c:v>
                </c:pt>
                <c:pt idx="928">
                  <c:v>240.85711000000046</c:v>
                </c:pt>
                <c:pt idx="929">
                  <c:v>240.0622400000004</c:v>
                </c:pt>
                <c:pt idx="930">
                  <c:v>244.03131230000034</c:v>
                </c:pt>
                <c:pt idx="931">
                  <c:v>246.6221323000004</c:v>
                </c:pt>
                <c:pt idx="932">
                  <c:v>250.31185969999999</c:v>
                </c:pt>
                <c:pt idx="933">
                  <c:v>250.62532160000001</c:v>
                </c:pt>
                <c:pt idx="934">
                  <c:v>250.8307777</c:v>
                </c:pt>
                <c:pt idx="935">
                  <c:v>249.9239436</c:v>
                </c:pt>
                <c:pt idx="936">
                  <c:v>245.95637920000001</c:v>
                </c:pt>
                <c:pt idx="937">
                  <c:v>249.11964899999998</c:v>
                </c:pt>
                <c:pt idx="938">
                  <c:v>250.47471659999999</c:v>
                </c:pt>
                <c:pt idx="939">
                  <c:v>247.54668469999959</c:v>
                </c:pt>
                <c:pt idx="940">
                  <c:v>249.90829870000007</c:v>
                </c:pt>
                <c:pt idx="941">
                  <c:v>251.34837620000027</c:v>
                </c:pt>
                <c:pt idx="942">
                  <c:v>253.18541750000034</c:v>
                </c:pt>
                <c:pt idx="943">
                  <c:v>253.51678609999999</c:v>
                </c:pt>
                <c:pt idx="944">
                  <c:v>254.93895690000033</c:v>
                </c:pt>
                <c:pt idx="945">
                  <c:v>253.76088299999998</c:v>
                </c:pt>
                <c:pt idx="946">
                  <c:v>249.4010672</c:v>
                </c:pt>
                <c:pt idx="947">
                  <c:v>249.28005549999995</c:v>
                </c:pt>
                <c:pt idx="948">
                  <c:v>249.46666239999999</c:v>
                </c:pt>
                <c:pt idx="949">
                  <c:v>249.51397379999949</c:v>
                </c:pt>
                <c:pt idx="950">
                  <c:v>252.2653889</c:v>
                </c:pt>
                <c:pt idx="951">
                  <c:v>255.44882730000043</c:v>
                </c:pt>
                <c:pt idx="952">
                  <c:v>257.96500459999999</c:v>
                </c:pt>
                <c:pt idx="953">
                  <c:v>258.38402190000005</c:v>
                </c:pt>
                <c:pt idx="954">
                  <c:v>256.82217869999999</c:v>
                </c:pt>
                <c:pt idx="955">
                  <c:v>257.09059109999993</c:v>
                </c:pt>
                <c:pt idx="956">
                  <c:v>258.4973054999989</c:v>
                </c:pt>
                <c:pt idx="957">
                  <c:v>257.91430029999964</c:v>
                </c:pt>
                <c:pt idx="958">
                  <c:v>257.92542129999993</c:v>
                </c:pt>
                <c:pt idx="959">
                  <c:v>259.41676859999927</c:v>
                </c:pt>
                <c:pt idx="960">
                  <c:v>259.31667949999934</c:v>
                </c:pt>
                <c:pt idx="961">
                  <c:v>258.99756280000003</c:v>
                </c:pt>
                <c:pt idx="962">
                  <c:v>260.36262060000092</c:v>
                </c:pt>
                <c:pt idx="963">
                  <c:v>259.68687739999996</c:v>
                </c:pt>
                <c:pt idx="964">
                  <c:v>259.50215539999999</c:v>
                </c:pt>
                <c:pt idx="965">
                  <c:v>259.37812779999933</c:v>
                </c:pt>
                <c:pt idx="966">
                  <c:v>259.39037979999921</c:v>
                </c:pt>
                <c:pt idx="967">
                  <c:v>260.09194629999934</c:v>
                </c:pt>
                <c:pt idx="968">
                  <c:v>259.89459539999996</c:v>
                </c:pt>
                <c:pt idx="969">
                  <c:v>260.92376069999995</c:v>
                </c:pt>
                <c:pt idx="970">
                  <c:v>259.27483430000001</c:v>
                </c:pt>
                <c:pt idx="971">
                  <c:v>258.68051960000003</c:v>
                </c:pt>
                <c:pt idx="972">
                  <c:v>258.17649239999997</c:v>
                </c:pt>
                <c:pt idx="973">
                  <c:v>256.65234759999998</c:v>
                </c:pt>
                <c:pt idx="974">
                  <c:v>254.57686409999965</c:v>
                </c:pt>
                <c:pt idx="975">
                  <c:v>255.77586059999959</c:v>
                </c:pt>
                <c:pt idx="976">
                  <c:v>257.8358877</c:v>
                </c:pt>
                <c:pt idx="977">
                  <c:v>257.7097867</c:v>
                </c:pt>
                <c:pt idx="978">
                  <c:v>255.7359003</c:v>
                </c:pt>
                <c:pt idx="979">
                  <c:v>255.32894650000068</c:v>
                </c:pt>
                <c:pt idx="980">
                  <c:v>257.77274299999999</c:v>
                </c:pt>
                <c:pt idx="981">
                  <c:v>259.005291</c:v>
                </c:pt>
                <c:pt idx="982">
                  <c:v>259.48349469999999</c:v>
                </c:pt>
                <c:pt idx="983">
                  <c:v>261.57745030000001</c:v>
                </c:pt>
                <c:pt idx="984">
                  <c:v>260.95938569999998</c:v>
                </c:pt>
                <c:pt idx="985">
                  <c:v>267.49778989999999</c:v>
                </c:pt>
                <c:pt idx="986">
                  <c:v>267.98089449999969</c:v>
                </c:pt>
                <c:pt idx="987">
                  <c:v>265.5125941</c:v>
                </c:pt>
                <c:pt idx="988">
                  <c:v>266.49859479999884</c:v>
                </c:pt>
                <c:pt idx="989">
                  <c:v>264.07704040000004</c:v>
                </c:pt>
                <c:pt idx="990">
                  <c:v>265.95441889999995</c:v>
                </c:pt>
                <c:pt idx="991">
                  <c:v>262.85240900000002</c:v>
                </c:pt>
                <c:pt idx="992">
                  <c:v>263.78695149999908</c:v>
                </c:pt>
                <c:pt idx="993">
                  <c:v>260.85514970000003</c:v>
                </c:pt>
                <c:pt idx="994">
                  <c:v>262.66184380000038</c:v>
                </c:pt>
                <c:pt idx="995">
                  <c:v>264.87624570000003</c:v>
                </c:pt>
                <c:pt idx="996">
                  <c:v>264.30040320000001</c:v>
                </c:pt>
                <c:pt idx="997">
                  <c:v>265.59270309999999</c:v>
                </c:pt>
                <c:pt idx="998">
                  <c:v>264.52678189999995</c:v>
                </c:pt>
                <c:pt idx="999">
                  <c:v>266.89065779999999</c:v>
                </c:pt>
                <c:pt idx="1000">
                  <c:v>268.69263960000001</c:v>
                </c:pt>
                <c:pt idx="1001">
                  <c:v>265.71314939999928</c:v>
                </c:pt>
                <c:pt idx="1002">
                  <c:v>265.95046060000038</c:v>
                </c:pt>
                <c:pt idx="1003">
                  <c:v>264.31755589999995</c:v>
                </c:pt>
                <c:pt idx="1004">
                  <c:v>264.41858759999963</c:v>
                </c:pt>
                <c:pt idx="1005">
                  <c:v>265.3685863</c:v>
                </c:pt>
                <c:pt idx="1006">
                  <c:v>264.87813059999934</c:v>
                </c:pt>
                <c:pt idx="1007">
                  <c:v>265.47564969999996</c:v>
                </c:pt>
                <c:pt idx="1008">
                  <c:v>267.52003199999933</c:v>
                </c:pt>
                <c:pt idx="1009">
                  <c:v>268.95011939999915</c:v>
                </c:pt>
                <c:pt idx="1010">
                  <c:v>266.73025119999994</c:v>
                </c:pt>
                <c:pt idx="1011">
                  <c:v>265.88241499999964</c:v>
                </c:pt>
                <c:pt idx="1012">
                  <c:v>265.43757429999908</c:v>
                </c:pt>
                <c:pt idx="1013">
                  <c:v>264.43253599999889</c:v>
                </c:pt>
                <c:pt idx="1014">
                  <c:v>265.73067909999969</c:v>
                </c:pt>
                <c:pt idx="1015">
                  <c:v>265.25454880000001</c:v>
                </c:pt>
                <c:pt idx="1016">
                  <c:v>263.73775509999933</c:v>
                </c:pt>
                <c:pt idx="1017">
                  <c:v>265.56292140000005</c:v>
                </c:pt>
                <c:pt idx="1018">
                  <c:v>265.68581810000001</c:v>
                </c:pt>
                <c:pt idx="1019">
                  <c:v>264.47758549999969</c:v>
                </c:pt>
                <c:pt idx="1020">
                  <c:v>264.00974880000001</c:v>
                </c:pt>
                <c:pt idx="1021">
                  <c:v>262.68031599999921</c:v>
                </c:pt>
                <c:pt idx="1022">
                  <c:v>262.35139779999969</c:v>
                </c:pt>
                <c:pt idx="1023">
                  <c:v>264.25139529999933</c:v>
                </c:pt>
                <c:pt idx="1024">
                  <c:v>261.93841219999928</c:v>
                </c:pt>
                <c:pt idx="1025">
                  <c:v>262.42057429999915</c:v>
                </c:pt>
                <c:pt idx="1026">
                  <c:v>262.18194360000001</c:v>
                </c:pt>
                <c:pt idx="1027">
                  <c:v>262.32199299999934</c:v>
                </c:pt>
                <c:pt idx="1028">
                  <c:v>261.47246040000005</c:v>
                </c:pt>
                <c:pt idx="1029">
                  <c:v>259.98544839999994</c:v>
                </c:pt>
                <c:pt idx="1030">
                  <c:v>259.33779049999993</c:v>
                </c:pt>
                <c:pt idx="1031">
                  <c:v>258.9383763999989</c:v>
                </c:pt>
                <c:pt idx="1032">
                  <c:v>259.4420265</c:v>
                </c:pt>
                <c:pt idx="1033">
                  <c:v>259.41808809999969</c:v>
                </c:pt>
                <c:pt idx="1034">
                  <c:v>260.74714390000003</c:v>
                </c:pt>
                <c:pt idx="1035">
                  <c:v>261.28246059999998</c:v>
                </c:pt>
                <c:pt idx="1036">
                  <c:v>262.13972139999998</c:v>
                </c:pt>
                <c:pt idx="1037">
                  <c:v>261.98157679999889</c:v>
                </c:pt>
                <c:pt idx="1038">
                  <c:v>261.65510899999964</c:v>
                </c:pt>
                <c:pt idx="1039">
                  <c:v>263.0931130999989</c:v>
                </c:pt>
                <c:pt idx="1040">
                  <c:v>263.60298340000008</c:v>
                </c:pt>
                <c:pt idx="1041">
                  <c:v>263.73982849999999</c:v>
                </c:pt>
                <c:pt idx="1042">
                  <c:v>262.42113969999889</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69</c:v>
                </c:pt>
                <c:pt idx="1051">
                  <c:v>270.20905629999999</c:v>
                </c:pt>
                <c:pt idx="1052">
                  <c:v>271.08403529999993</c:v>
                </c:pt>
                <c:pt idx="1053">
                  <c:v>271.51473909999999</c:v>
                </c:pt>
                <c:pt idx="1054">
                  <c:v>271.65818140000005</c:v>
                </c:pt>
                <c:pt idx="1055">
                  <c:v>269.99794539999999</c:v>
                </c:pt>
                <c:pt idx="1056">
                  <c:v>270.43072269999999</c:v>
                </c:pt>
                <c:pt idx="1057">
                  <c:v>271.74526459999998</c:v>
                </c:pt>
                <c:pt idx="1058">
                  <c:v>272.87282270000031</c:v>
                </c:pt>
                <c:pt idx="1059">
                  <c:v>272.54164260000067</c:v>
                </c:pt>
                <c:pt idx="1060">
                  <c:v>274.61147119999998</c:v>
                </c:pt>
                <c:pt idx="1061">
                  <c:v>277.26995989999995</c:v>
                </c:pt>
                <c:pt idx="1062">
                  <c:v>276.18028870000001</c:v>
                </c:pt>
                <c:pt idx="1063">
                  <c:v>275.12266110000093</c:v>
                </c:pt>
                <c:pt idx="1064">
                  <c:v>274.04109499999993</c:v>
                </c:pt>
                <c:pt idx="1065">
                  <c:v>274.77376269999996</c:v>
                </c:pt>
                <c:pt idx="1066">
                  <c:v>274.00207719999997</c:v>
                </c:pt>
                <c:pt idx="1067">
                  <c:v>273.71142279999964</c:v>
                </c:pt>
                <c:pt idx="1068">
                  <c:v>274.19867410000001</c:v>
                </c:pt>
                <c:pt idx="1069">
                  <c:v>274.94076639999997</c:v>
                </c:pt>
                <c:pt idx="1070">
                  <c:v>275.65741229999998</c:v>
                </c:pt>
                <c:pt idx="1071">
                  <c:v>275.1520658000008</c:v>
                </c:pt>
                <c:pt idx="1072">
                  <c:v>277.24526740000005</c:v>
                </c:pt>
                <c:pt idx="1073">
                  <c:v>274.33344579999999</c:v>
                </c:pt>
                <c:pt idx="1074">
                  <c:v>273.51162149999999</c:v>
                </c:pt>
                <c:pt idx="1075">
                  <c:v>273.92234509999969</c:v>
                </c:pt>
                <c:pt idx="1076">
                  <c:v>274.5234456</c:v>
                </c:pt>
                <c:pt idx="1077">
                  <c:v>275.20295859999999</c:v>
                </c:pt>
                <c:pt idx="1078">
                  <c:v>274.18001349999969</c:v>
                </c:pt>
                <c:pt idx="1079">
                  <c:v>274.04448780000087</c:v>
                </c:pt>
                <c:pt idx="1080">
                  <c:v>274.85519119999998</c:v>
                </c:pt>
                <c:pt idx="1081">
                  <c:v>273.58890309999964</c:v>
                </c:pt>
                <c:pt idx="1082">
                  <c:v>274.68912989999995</c:v>
                </c:pt>
                <c:pt idx="1083">
                  <c:v>276.93859119999928</c:v>
                </c:pt>
                <c:pt idx="1084">
                  <c:v>276.22590369999995</c:v>
                </c:pt>
                <c:pt idx="1085">
                  <c:v>274.63032039999996</c:v>
                </c:pt>
                <c:pt idx="1086">
                  <c:v>274.92606409999934</c:v>
                </c:pt>
                <c:pt idx="1087">
                  <c:v>275.37919839999995</c:v>
                </c:pt>
                <c:pt idx="1088">
                  <c:v>275.20446650000002</c:v>
                </c:pt>
                <c:pt idx="1089">
                  <c:v>274.91550849999908</c:v>
                </c:pt>
                <c:pt idx="1090">
                  <c:v>278.12891709999963</c:v>
                </c:pt>
                <c:pt idx="1091">
                  <c:v>277.54346149999998</c:v>
                </c:pt>
                <c:pt idx="1092">
                  <c:v>277.07336289999995</c:v>
                </c:pt>
                <c:pt idx="1093">
                  <c:v>276.15088390000068</c:v>
                </c:pt>
                <c:pt idx="1094">
                  <c:v>276.63888930000002</c:v>
                </c:pt>
                <c:pt idx="1095">
                  <c:v>278.59185299999933</c:v>
                </c:pt>
                <c:pt idx="1096">
                  <c:v>276.70052609999999</c:v>
                </c:pt>
                <c:pt idx="1097">
                  <c:v>278.39167469999995</c:v>
                </c:pt>
                <c:pt idx="1098">
                  <c:v>279.73015509999908</c:v>
                </c:pt>
                <c:pt idx="1099">
                  <c:v>276.95630949999884</c:v>
                </c:pt>
                <c:pt idx="1100">
                  <c:v>277.21360079999999</c:v>
                </c:pt>
                <c:pt idx="1101">
                  <c:v>281.50857539999993</c:v>
                </c:pt>
                <c:pt idx="1102">
                  <c:v>280.87071909999969</c:v>
                </c:pt>
                <c:pt idx="1103">
                  <c:v>277.85089170000032</c:v>
                </c:pt>
                <c:pt idx="1104">
                  <c:v>278.89928320000001</c:v>
                </c:pt>
                <c:pt idx="1105">
                  <c:v>282.23031059999909</c:v>
                </c:pt>
                <c:pt idx="1106">
                  <c:v>282.10175919999995</c:v>
                </c:pt>
                <c:pt idx="1107">
                  <c:v>282.64536959999998</c:v>
                </c:pt>
                <c:pt idx="1108">
                  <c:v>281.84710669999998</c:v>
                </c:pt>
                <c:pt idx="1109">
                  <c:v>282.77486349999998</c:v>
                </c:pt>
                <c:pt idx="1110">
                  <c:v>281.70894219999997</c:v>
                </c:pt>
                <c:pt idx="1111">
                  <c:v>280.57648339999997</c:v>
                </c:pt>
                <c:pt idx="1112">
                  <c:v>279.77897449999921</c:v>
                </c:pt>
                <c:pt idx="1113">
                  <c:v>277.79641749999865</c:v>
                </c:pt>
                <c:pt idx="1114">
                  <c:v>277.94325269999996</c:v>
                </c:pt>
                <c:pt idx="1115">
                  <c:v>277.33762840000003</c:v>
                </c:pt>
                <c:pt idx="1116">
                  <c:v>277.41095179999934</c:v>
                </c:pt>
                <c:pt idx="1117">
                  <c:v>274.88308789999996</c:v>
                </c:pt>
                <c:pt idx="1118">
                  <c:v>279.0506421000008</c:v>
                </c:pt>
                <c:pt idx="1119">
                  <c:v>281.57530149999963</c:v>
                </c:pt>
                <c:pt idx="1120">
                  <c:v>285.15683460000002</c:v>
                </c:pt>
                <c:pt idx="1121">
                  <c:v>285.68084190000002</c:v>
                </c:pt>
                <c:pt idx="1122">
                  <c:v>286.45629719999999</c:v>
                </c:pt>
                <c:pt idx="1123">
                  <c:v>286.72565200000003</c:v>
                </c:pt>
                <c:pt idx="1124">
                  <c:v>285.27200310000001</c:v>
                </c:pt>
                <c:pt idx="1125">
                  <c:v>284.45639899999884</c:v>
                </c:pt>
                <c:pt idx="1126">
                  <c:v>283.08700589999995</c:v>
                </c:pt>
                <c:pt idx="1127">
                  <c:v>285.03883869999999</c:v>
                </c:pt>
                <c:pt idx="1128">
                  <c:v>286.02559339999999</c:v>
                </c:pt>
                <c:pt idx="1129">
                  <c:v>288.73384389999995</c:v>
                </c:pt>
                <c:pt idx="1130">
                  <c:v>287.40893489999928</c:v>
                </c:pt>
                <c:pt idx="1131">
                  <c:v>286.63140609999999</c:v>
                </c:pt>
                <c:pt idx="1132">
                  <c:v>288.4497867</c:v>
                </c:pt>
                <c:pt idx="1133">
                  <c:v>290.21670899999884</c:v>
                </c:pt>
                <c:pt idx="1134">
                  <c:v>291.00667829999969</c:v>
                </c:pt>
                <c:pt idx="1135">
                  <c:v>291.88165729999969</c:v>
                </c:pt>
                <c:pt idx="1136">
                  <c:v>291.41042769999996</c:v>
                </c:pt>
                <c:pt idx="1137">
                  <c:v>289.23278169999998</c:v>
                </c:pt>
                <c:pt idx="1138">
                  <c:v>292.18682560000002</c:v>
                </c:pt>
                <c:pt idx="1139">
                  <c:v>293.79767659999999</c:v>
                </c:pt>
                <c:pt idx="1140">
                  <c:v>293.53831189999903</c:v>
                </c:pt>
                <c:pt idx="1141">
                  <c:v>295.6273668</c:v>
                </c:pt>
                <c:pt idx="1142">
                  <c:v>297.4466898</c:v>
                </c:pt>
                <c:pt idx="1143">
                  <c:v>298.0841691</c:v>
                </c:pt>
                <c:pt idx="1144">
                  <c:v>297.60747329999998</c:v>
                </c:pt>
                <c:pt idx="1145">
                  <c:v>293.60202210000074</c:v>
                </c:pt>
                <c:pt idx="1146">
                  <c:v>299.35253060000002</c:v>
                </c:pt>
                <c:pt idx="1147">
                  <c:v>301.90621779999884</c:v>
                </c:pt>
                <c:pt idx="1148">
                  <c:v>305.20670959999927</c:v>
                </c:pt>
                <c:pt idx="1149">
                  <c:v>305.45061799999934</c:v>
                </c:pt>
                <c:pt idx="1150">
                  <c:v>305.09135259999908</c:v>
                </c:pt>
                <c:pt idx="1151">
                  <c:v>303.45807089999994</c:v>
                </c:pt>
                <c:pt idx="1152">
                  <c:v>305.21783060000001</c:v>
                </c:pt>
                <c:pt idx="1153">
                  <c:v>304.83896199999964</c:v>
                </c:pt>
                <c:pt idx="1154">
                  <c:v>302.56311179999921</c:v>
                </c:pt>
                <c:pt idx="1155">
                  <c:v>303.22019429999921</c:v>
                </c:pt>
                <c:pt idx="1156">
                  <c:v>305.60612369999996</c:v>
                </c:pt>
                <c:pt idx="1157">
                  <c:v>304.67874399999999</c:v>
                </c:pt>
                <c:pt idx="1158">
                  <c:v>304.43766289999996</c:v>
                </c:pt>
                <c:pt idx="1159">
                  <c:v>299.36930640000003</c:v>
                </c:pt>
                <c:pt idx="1160">
                  <c:v>299.68314519999996</c:v>
                </c:pt>
                <c:pt idx="1161">
                  <c:v>298.20028010000038</c:v>
                </c:pt>
                <c:pt idx="1162">
                  <c:v>299.63357189999999</c:v>
                </c:pt>
                <c:pt idx="1163">
                  <c:v>296.14760420000073</c:v>
                </c:pt>
                <c:pt idx="1164">
                  <c:v>293.45367909999999</c:v>
                </c:pt>
                <c:pt idx="1165">
                  <c:v>288.36496540000002</c:v>
                </c:pt>
                <c:pt idx="1166">
                  <c:v>286.75015599999921</c:v>
                </c:pt>
                <c:pt idx="1167">
                  <c:v>289.31628360000002</c:v>
                </c:pt>
                <c:pt idx="1168">
                  <c:v>286.44234879999999</c:v>
                </c:pt>
                <c:pt idx="1169">
                  <c:v>284.60002980000002</c:v>
                </c:pt>
                <c:pt idx="1170">
                  <c:v>283.42779919999964</c:v>
                </c:pt>
                <c:pt idx="1171">
                  <c:v>281.48143259999921</c:v>
                </c:pt>
                <c:pt idx="1172">
                  <c:v>275.59407909999999</c:v>
                </c:pt>
                <c:pt idx="1173">
                  <c:v>275.92092389999999</c:v>
                </c:pt>
                <c:pt idx="1174">
                  <c:v>271.95826039999997</c:v>
                </c:pt>
                <c:pt idx="1175">
                  <c:v>279.49322089999993</c:v>
                </c:pt>
                <c:pt idx="1176">
                  <c:v>279.32942150000002</c:v>
                </c:pt>
                <c:pt idx="1177">
                  <c:v>279.55165339999996</c:v>
                </c:pt>
                <c:pt idx="1178">
                  <c:v>279.90130569999963</c:v>
                </c:pt>
                <c:pt idx="1179">
                  <c:v>268.90412739999999</c:v>
                </c:pt>
                <c:pt idx="1180">
                  <c:v>267.21486370000002</c:v>
                </c:pt>
                <c:pt idx="1181">
                  <c:v>261.73144819999999</c:v>
                </c:pt>
                <c:pt idx="1182">
                  <c:v>264.78256529999999</c:v>
                </c:pt>
                <c:pt idx="1183">
                  <c:v>268.8059232</c:v>
                </c:pt>
                <c:pt idx="1184">
                  <c:v>273.49578819999999</c:v>
                </c:pt>
                <c:pt idx="1185">
                  <c:v>278.58751769999969</c:v>
                </c:pt>
                <c:pt idx="1186">
                  <c:v>277.31708279999998</c:v>
                </c:pt>
                <c:pt idx="1187">
                  <c:v>277.28541619999999</c:v>
                </c:pt>
                <c:pt idx="1188">
                  <c:v>272.28114689999916</c:v>
                </c:pt>
                <c:pt idx="1189">
                  <c:v>273.22737579999921</c:v>
                </c:pt>
                <c:pt idx="1190">
                  <c:v>273.97041059999964</c:v>
                </c:pt>
                <c:pt idx="1191">
                  <c:v>268.37446540000002</c:v>
                </c:pt>
                <c:pt idx="1192">
                  <c:v>270.15288570000087</c:v>
                </c:pt>
                <c:pt idx="1193">
                  <c:v>272.8935567999992</c:v>
                </c:pt>
                <c:pt idx="1194">
                  <c:v>281.4092402</c:v>
                </c:pt>
                <c:pt idx="1195">
                  <c:v>281.21829799999921</c:v>
                </c:pt>
                <c:pt idx="1196">
                  <c:v>280.45584860000002</c:v>
                </c:pt>
                <c:pt idx="1197">
                  <c:v>280.69297130000001</c:v>
                </c:pt>
                <c:pt idx="1198">
                  <c:v>280.70805069999994</c:v>
                </c:pt>
                <c:pt idx="1199">
                  <c:v>282.13700720000003</c:v>
                </c:pt>
                <c:pt idx="1200">
                  <c:v>281.97773160000003</c:v>
                </c:pt>
                <c:pt idx="1201">
                  <c:v>283.09888089999998</c:v>
                </c:pt>
                <c:pt idx="1202">
                  <c:v>285.75152629999963</c:v>
                </c:pt>
                <c:pt idx="1203">
                  <c:v>285.16248940000008</c:v>
                </c:pt>
                <c:pt idx="1204">
                  <c:v>281.39189899999963</c:v>
                </c:pt>
                <c:pt idx="1205">
                  <c:v>282.58335579999908</c:v>
                </c:pt>
                <c:pt idx="1206">
                  <c:v>279.63722860000001</c:v>
                </c:pt>
                <c:pt idx="1207">
                  <c:v>279.46230819999994</c:v>
                </c:pt>
                <c:pt idx="1208">
                  <c:v>277.6895427</c:v>
                </c:pt>
                <c:pt idx="1209">
                  <c:v>279.64457979999997</c:v>
                </c:pt>
                <c:pt idx="1210">
                  <c:v>278.74962070000032</c:v>
                </c:pt>
                <c:pt idx="1211">
                  <c:v>280.25510480000003</c:v>
                </c:pt>
                <c:pt idx="1212">
                  <c:v>279.02745759999999</c:v>
                </c:pt>
                <c:pt idx="1213">
                  <c:v>278.63068230000067</c:v>
                </c:pt>
                <c:pt idx="1214">
                  <c:v>279.37409409999998</c:v>
                </c:pt>
                <c:pt idx="1215">
                  <c:v>279.35750680000001</c:v>
                </c:pt>
                <c:pt idx="1216">
                  <c:v>278.21166499999993</c:v>
                </c:pt>
                <c:pt idx="1217">
                  <c:v>280.69655269999993</c:v>
                </c:pt>
                <c:pt idx="1218">
                  <c:v>281.06279230000001</c:v>
                </c:pt>
                <c:pt idx="1219">
                  <c:v>279.0338663</c:v>
                </c:pt>
                <c:pt idx="1220">
                  <c:v>276.00140989999994</c:v>
                </c:pt>
                <c:pt idx="1221">
                  <c:v>269.08055569999999</c:v>
                </c:pt>
                <c:pt idx="1222">
                  <c:v>262.85976020000032</c:v>
                </c:pt>
                <c:pt idx="1223">
                  <c:v>260.90736189999996</c:v>
                </c:pt>
                <c:pt idx="1224">
                  <c:v>255.85766610000007</c:v>
                </c:pt>
                <c:pt idx="1225">
                  <c:v>256.42596889999999</c:v>
                </c:pt>
                <c:pt idx="1226">
                  <c:v>255.30821240000037</c:v>
                </c:pt>
                <c:pt idx="1227">
                  <c:v>249.51359689999998</c:v>
                </c:pt>
                <c:pt idx="1228">
                  <c:v>248.85349850000034</c:v>
                </c:pt>
                <c:pt idx="1229">
                  <c:v>252.75018990000001</c:v>
                </c:pt>
                <c:pt idx="1230">
                  <c:v>254.20233090000033</c:v>
                </c:pt>
                <c:pt idx="1231">
                  <c:v>255.0484707</c:v>
                </c:pt>
                <c:pt idx="1232">
                  <c:v>254.83076259999999</c:v>
                </c:pt>
                <c:pt idx="1233">
                  <c:v>251.06808890000033</c:v>
                </c:pt>
                <c:pt idx="1234">
                  <c:v>251.29899140000001</c:v>
                </c:pt>
                <c:pt idx="1235">
                  <c:v>252.25860319999998</c:v>
                </c:pt>
                <c:pt idx="1236">
                  <c:v>260.23218419999995</c:v>
                </c:pt>
                <c:pt idx="1237">
                  <c:v>265.12241599999999</c:v>
                </c:pt>
                <c:pt idx="1238">
                  <c:v>265.95140300000003</c:v>
                </c:pt>
                <c:pt idx="1239">
                  <c:v>265.82058970000003</c:v>
                </c:pt>
                <c:pt idx="1240">
                  <c:v>265.15219770000004</c:v>
                </c:pt>
                <c:pt idx="1241">
                  <c:v>272.0116036</c:v>
                </c:pt>
                <c:pt idx="1242">
                  <c:v>272.44042240000005</c:v>
                </c:pt>
                <c:pt idx="1243">
                  <c:v>271.71491739999999</c:v>
                </c:pt>
                <c:pt idx="1244">
                  <c:v>283.70035829999921</c:v>
                </c:pt>
                <c:pt idx="1245">
                  <c:v>281.72251369999969</c:v>
                </c:pt>
              </c:numCache>
            </c:numRef>
          </c:val>
        </c:ser>
        <c:ser>
          <c:idx val="2"/>
          <c:order val="2"/>
          <c:tx>
            <c:strRef>
              <c:f>Sheet1!$D$1</c:f>
              <c:strCache>
                <c:ptCount val="1"/>
              </c:strCache>
            </c:strRef>
          </c:tx>
          <c:spPr>
            <a:ln w="12700">
              <a:solidFill>
                <a:srgbClr val="665C8C"/>
              </a:solidFill>
            </a:ln>
          </c:spPr>
          <c:marker>
            <c:symbol val="none"/>
          </c:marker>
          <c:cat>
            <c:strRef>
              <c:f>Sheet1!$A$2:$A$1247</c:f>
              <c:strCache>
                <c:ptCount val="1246"/>
                <c:pt idx="0">
                  <c:v>Nov-08 </c:v>
                </c:pt>
                <c:pt idx="1">
                  <c:v>Nov-08 </c:v>
                </c:pt>
                <c:pt idx="2">
                  <c:v>Nov-08 </c:v>
                </c:pt>
                <c:pt idx="3">
                  <c:v>Nov-08 </c:v>
                </c:pt>
                <c:pt idx="4">
                  <c:v>Nov-08 </c:v>
                </c:pt>
                <c:pt idx="5">
                  <c:v>Nov-08 </c:v>
                </c:pt>
                <c:pt idx="6">
                  <c:v>Nov-08 </c:v>
                </c:pt>
                <c:pt idx="7">
                  <c:v>Nov-08 </c:v>
                </c:pt>
                <c:pt idx="8">
                  <c:v>Nov-08 </c:v>
                </c:pt>
                <c:pt idx="9">
                  <c:v>Nov-08 </c:v>
                </c:pt>
                <c:pt idx="10">
                  <c:v>Dec-08</c:v>
                </c:pt>
                <c:pt idx="11">
                  <c:v>Dec-08</c:v>
                </c:pt>
                <c:pt idx="12">
                  <c:v>Dec-08</c:v>
                </c:pt>
                <c:pt idx="13">
                  <c:v>Dec-08</c:v>
                </c:pt>
                <c:pt idx="14">
                  <c:v>Dec-08</c:v>
                </c:pt>
                <c:pt idx="15">
                  <c:v>Dec-08</c:v>
                </c:pt>
                <c:pt idx="16">
                  <c:v>Dec-08</c:v>
                </c:pt>
                <c:pt idx="17">
                  <c:v>Dec-08</c:v>
                </c:pt>
                <c:pt idx="18">
                  <c:v>Dec-08</c:v>
                </c:pt>
                <c:pt idx="19">
                  <c:v>Dec-08</c:v>
                </c:pt>
                <c:pt idx="20">
                  <c:v>Dec-08</c:v>
                </c:pt>
                <c:pt idx="21">
                  <c:v>Dec-08</c:v>
                </c:pt>
                <c:pt idx="22">
                  <c:v>Dec-08</c:v>
                </c:pt>
                <c:pt idx="23">
                  <c:v>Dec-08</c:v>
                </c:pt>
                <c:pt idx="24">
                  <c:v>Dec-08</c:v>
                </c:pt>
                <c:pt idx="25">
                  <c:v>Dec-08</c:v>
                </c:pt>
                <c:pt idx="26">
                  <c:v>Dec-08</c:v>
                </c:pt>
                <c:pt idx="27">
                  <c:v>Dec-08</c:v>
                </c:pt>
                <c:pt idx="28">
                  <c:v>Dec-08</c:v>
                </c:pt>
                <c:pt idx="29">
                  <c:v>Dec-08</c:v>
                </c:pt>
                <c:pt idx="30">
                  <c:v>Dec-08</c:v>
                </c:pt>
                <c:pt idx="31">
                  <c:v>Jan-09 </c:v>
                </c:pt>
                <c:pt idx="32">
                  <c:v>Jan-09 </c:v>
                </c:pt>
                <c:pt idx="33">
                  <c:v>Jan-09 </c:v>
                </c:pt>
                <c:pt idx="34">
                  <c:v>Jan-09 </c:v>
                </c:pt>
                <c:pt idx="35">
                  <c:v>Jan-09 </c:v>
                </c:pt>
                <c:pt idx="36">
                  <c:v>Jan-09 </c:v>
                </c:pt>
                <c:pt idx="37">
                  <c:v>Jan-09 </c:v>
                </c:pt>
                <c:pt idx="38">
                  <c:v>Jan-09 </c:v>
                </c:pt>
                <c:pt idx="39">
                  <c:v>Jan-09 </c:v>
                </c:pt>
                <c:pt idx="40">
                  <c:v>Jan-09 </c:v>
                </c:pt>
                <c:pt idx="41">
                  <c:v>Jan-09 </c:v>
                </c:pt>
                <c:pt idx="42">
                  <c:v>Jan-09 </c:v>
                </c:pt>
                <c:pt idx="43">
                  <c:v>Jan-09 </c:v>
                </c:pt>
                <c:pt idx="44">
                  <c:v>Jan-09 </c:v>
                </c:pt>
                <c:pt idx="45">
                  <c:v>Jan-09 </c:v>
                </c:pt>
                <c:pt idx="46">
                  <c:v>Jan-09 </c:v>
                </c:pt>
                <c:pt idx="47">
                  <c:v>Jan-09 </c:v>
                </c:pt>
                <c:pt idx="48">
                  <c:v>Jan-09 </c:v>
                </c:pt>
                <c:pt idx="49">
                  <c:v>Jan-09 </c:v>
                </c:pt>
                <c:pt idx="50">
                  <c:v>Jan-09 </c:v>
                </c:pt>
                <c:pt idx="51">
                  <c:v>Jan-09 </c:v>
                </c:pt>
                <c:pt idx="52">
                  <c:v>Feb-09 </c:v>
                </c:pt>
                <c:pt idx="53">
                  <c:v>Feb-09 </c:v>
                </c:pt>
                <c:pt idx="54">
                  <c:v>Feb-09 </c:v>
                </c:pt>
                <c:pt idx="55">
                  <c:v>Feb-09 </c:v>
                </c:pt>
                <c:pt idx="56">
                  <c:v>Feb-09 </c:v>
                </c:pt>
                <c:pt idx="57">
                  <c:v>Feb-09 </c:v>
                </c:pt>
                <c:pt idx="58">
                  <c:v>Feb-09 </c:v>
                </c:pt>
                <c:pt idx="59">
                  <c:v>Feb-09 </c:v>
                </c:pt>
                <c:pt idx="60">
                  <c:v>Feb-09 </c:v>
                </c:pt>
                <c:pt idx="61">
                  <c:v>Feb-09 </c:v>
                </c:pt>
                <c:pt idx="62">
                  <c:v>Feb-09 </c:v>
                </c:pt>
                <c:pt idx="63">
                  <c:v>Feb-09 </c:v>
                </c:pt>
                <c:pt idx="64">
                  <c:v>Feb-09 </c:v>
                </c:pt>
                <c:pt idx="65">
                  <c:v>Feb-09 </c:v>
                </c:pt>
                <c:pt idx="66">
                  <c:v>Feb-09 </c:v>
                </c:pt>
                <c:pt idx="67">
                  <c:v>Feb-09 </c:v>
                </c:pt>
                <c:pt idx="68">
                  <c:v>Feb-09 </c:v>
                </c:pt>
                <c:pt idx="69">
                  <c:v>Feb-09 </c:v>
                </c:pt>
                <c:pt idx="70">
                  <c:v>Feb-09 </c:v>
                </c:pt>
                <c:pt idx="71">
                  <c:v>Feb-09 </c:v>
                </c:pt>
                <c:pt idx="72">
                  <c:v>Mar-09 </c:v>
                </c:pt>
                <c:pt idx="73">
                  <c:v>Mar-09 </c:v>
                </c:pt>
                <c:pt idx="74">
                  <c:v>Mar-09 </c:v>
                </c:pt>
                <c:pt idx="75">
                  <c:v>Mar-09 </c:v>
                </c:pt>
                <c:pt idx="76">
                  <c:v>Mar-09 </c:v>
                </c:pt>
                <c:pt idx="77">
                  <c:v>Mar-09 </c:v>
                </c:pt>
                <c:pt idx="78">
                  <c:v>Mar-09 </c:v>
                </c:pt>
                <c:pt idx="79">
                  <c:v>Mar-09 </c:v>
                </c:pt>
                <c:pt idx="80">
                  <c:v>Mar-09 </c:v>
                </c:pt>
                <c:pt idx="81">
                  <c:v>Mar-09 </c:v>
                </c:pt>
                <c:pt idx="82">
                  <c:v>Mar-09 </c:v>
                </c:pt>
                <c:pt idx="83">
                  <c:v>Mar-09 </c:v>
                </c:pt>
                <c:pt idx="84">
                  <c:v>Mar-09 </c:v>
                </c:pt>
                <c:pt idx="85">
                  <c:v>Mar-09 </c:v>
                </c:pt>
                <c:pt idx="86">
                  <c:v>Mar-09 </c:v>
                </c:pt>
                <c:pt idx="87">
                  <c:v>Mar-09 </c:v>
                </c:pt>
                <c:pt idx="88">
                  <c:v>Mar-09 </c:v>
                </c:pt>
                <c:pt idx="89">
                  <c:v>Mar-09 </c:v>
                </c:pt>
                <c:pt idx="90">
                  <c:v>Mar-09 </c:v>
                </c:pt>
                <c:pt idx="91">
                  <c:v>Mar-09 </c:v>
                </c:pt>
                <c:pt idx="92">
                  <c:v>Mar-09 </c:v>
                </c:pt>
                <c:pt idx="93">
                  <c:v>Mar-09 </c:v>
                </c:pt>
                <c:pt idx="94">
                  <c:v>Apr-09</c:v>
                </c:pt>
                <c:pt idx="95">
                  <c:v>Apr-09</c:v>
                </c:pt>
                <c:pt idx="96">
                  <c:v>Apr-09</c:v>
                </c:pt>
                <c:pt idx="97">
                  <c:v>Apr-09</c:v>
                </c:pt>
                <c:pt idx="98">
                  <c:v>Apr-09</c:v>
                </c:pt>
                <c:pt idx="99">
                  <c:v>Apr-09</c:v>
                </c:pt>
                <c:pt idx="100">
                  <c:v>Apr-09</c:v>
                </c:pt>
                <c:pt idx="101">
                  <c:v>Apr-09</c:v>
                </c:pt>
                <c:pt idx="102">
                  <c:v>Apr-09</c:v>
                </c:pt>
                <c:pt idx="103">
                  <c:v>Apr-09</c:v>
                </c:pt>
                <c:pt idx="104">
                  <c:v>Apr-09</c:v>
                </c:pt>
                <c:pt idx="105">
                  <c:v>Apr-09</c:v>
                </c:pt>
                <c:pt idx="106">
                  <c:v>Apr-09</c:v>
                </c:pt>
                <c:pt idx="107">
                  <c:v>Apr-09</c:v>
                </c:pt>
                <c:pt idx="108">
                  <c:v>Apr-09</c:v>
                </c:pt>
                <c:pt idx="109">
                  <c:v>Apr-09</c:v>
                </c:pt>
                <c:pt idx="110">
                  <c:v>Apr-09</c:v>
                </c:pt>
                <c:pt idx="111">
                  <c:v>Apr-09</c:v>
                </c:pt>
                <c:pt idx="112">
                  <c:v>Apr-09</c:v>
                </c:pt>
                <c:pt idx="113">
                  <c:v>Apr-09</c:v>
                </c:pt>
                <c:pt idx="114">
                  <c:v>May-09 </c:v>
                </c:pt>
                <c:pt idx="115">
                  <c:v>May-09 </c:v>
                </c:pt>
                <c:pt idx="116">
                  <c:v>May-09 </c:v>
                </c:pt>
                <c:pt idx="117">
                  <c:v>May-09 </c:v>
                </c:pt>
                <c:pt idx="118">
                  <c:v>May-09 </c:v>
                </c:pt>
                <c:pt idx="119">
                  <c:v>May-09 </c:v>
                </c:pt>
                <c:pt idx="120">
                  <c:v>May-09 </c:v>
                </c:pt>
                <c:pt idx="121">
                  <c:v>May-09 </c:v>
                </c:pt>
                <c:pt idx="122">
                  <c:v>May-09 </c:v>
                </c:pt>
                <c:pt idx="123">
                  <c:v>May-09 </c:v>
                </c:pt>
                <c:pt idx="124">
                  <c:v>May-09 </c:v>
                </c:pt>
                <c:pt idx="125">
                  <c:v>May-09 </c:v>
                </c:pt>
                <c:pt idx="126">
                  <c:v>May-09 </c:v>
                </c:pt>
                <c:pt idx="127">
                  <c:v>May-09 </c:v>
                </c:pt>
                <c:pt idx="128">
                  <c:v>May-09 </c:v>
                </c:pt>
                <c:pt idx="129">
                  <c:v>May-09 </c:v>
                </c:pt>
                <c:pt idx="130">
                  <c:v>May-09 </c:v>
                </c:pt>
                <c:pt idx="131">
                  <c:v>May-09 </c:v>
                </c:pt>
                <c:pt idx="132">
                  <c:v>May-09 </c:v>
                </c:pt>
                <c:pt idx="133">
                  <c:v>May-09 </c:v>
                </c:pt>
                <c:pt idx="134">
                  <c:v>May-09 </c:v>
                </c:pt>
                <c:pt idx="135">
                  <c:v>Jun-09 </c:v>
                </c:pt>
                <c:pt idx="136">
                  <c:v>Jun-09 </c:v>
                </c:pt>
                <c:pt idx="137">
                  <c:v>Jun-09 </c:v>
                </c:pt>
                <c:pt idx="138">
                  <c:v>Jun-09 </c:v>
                </c:pt>
                <c:pt idx="139">
                  <c:v>Jun-09 </c:v>
                </c:pt>
                <c:pt idx="140">
                  <c:v>Jun-09 </c:v>
                </c:pt>
                <c:pt idx="141">
                  <c:v>Jun-09 </c:v>
                </c:pt>
                <c:pt idx="142">
                  <c:v>Jun-09 </c:v>
                </c:pt>
                <c:pt idx="143">
                  <c:v>Jun-09 </c:v>
                </c:pt>
                <c:pt idx="144">
                  <c:v>Jun-09 </c:v>
                </c:pt>
                <c:pt idx="145">
                  <c:v>Jun-09 </c:v>
                </c:pt>
                <c:pt idx="146">
                  <c:v>Jun-09 </c:v>
                </c:pt>
                <c:pt idx="147">
                  <c:v>Jun-09 </c:v>
                </c:pt>
                <c:pt idx="148">
                  <c:v>Jun-09 </c:v>
                </c:pt>
                <c:pt idx="149">
                  <c:v>Jun-09 </c:v>
                </c:pt>
                <c:pt idx="150">
                  <c:v>Jun-09 </c:v>
                </c:pt>
                <c:pt idx="151">
                  <c:v>Jun-09 </c:v>
                </c:pt>
                <c:pt idx="152">
                  <c:v>Jun-09 </c:v>
                </c:pt>
                <c:pt idx="153">
                  <c:v>Jun-09 </c:v>
                </c:pt>
                <c:pt idx="154">
                  <c:v>Jun-09 </c:v>
                </c:pt>
                <c:pt idx="155">
                  <c:v>Jun-09 </c:v>
                </c:pt>
                <c:pt idx="156">
                  <c:v>Jun-09 </c:v>
                </c:pt>
                <c:pt idx="157">
                  <c:v>Jul-09</c:v>
                </c:pt>
                <c:pt idx="158">
                  <c:v>Jul-09</c:v>
                </c:pt>
                <c:pt idx="159">
                  <c:v>Jul-09</c:v>
                </c:pt>
                <c:pt idx="160">
                  <c:v>Jul-09</c:v>
                </c:pt>
                <c:pt idx="161">
                  <c:v>Jul-09</c:v>
                </c:pt>
                <c:pt idx="162">
                  <c:v>Jul-09</c:v>
                </c:pt>
                <c:pt idx="163">
                  <c:v>Jul-09</c:v>
                </c:pt>
                <c:pt idx="164">
                  <c:v>Jul-09</c:v>
                </c:pt>
                <c:pt idx="165">
                  <c:v>Jul-09</c:v>
                </c:pt>
                <c:pt idx="166">
                  <c:v>Jul-09</c:v>
                </c:pt>
                <c:pt idx="167">
                  <c:v>Jul-09</c:v>
                </c:pt>
                <c:pt idx="168">
                  <c:v>Jul-09</c:v>
                </c:pt>
                <c:pt idx="169">
                  <c:v>Jul-09</c:v>
                </c:pt>
                <c:pt idx="170">
                  <c:v>Jul-09</c:v>
                </c:pt>
                <c:pt idx="171">
                  <c:v>Jul-09</c:v>
                </c:pt>
                <c:pt idx="172">
                  <c:v>Jul-09</c:v>
                </c:pt>
                <c:pt idx="173">
                  <c:v>Jul-09</c:v>
                </c:pt>
                <c:pt idx="174">
                  <c:v>Jul-09</c:v>
                </c:pt>
                <c:pt idx="175">
                  <c:v>Jul-09</c:v>
                </c:pt>
                <c:pt idx="176">
                  <c:v>Jul-09</c:v>
                </c:pt>
                <c:pt idx="177">
                  <c:v>Jul-09</c:v>
                </c:pt>
                <c:pt idx="178">
                  <c:v>Jul-09</c:v>
                </c:pt>
                <c:pt idx="179">
                  <c:v>Jul-09</c:v>
                </c:pt>
                <c:pt idx="180">
                  <c:v>Aug-09 </c:v>
                </c:pt>
                <c:pt idx="181">
                  <c:v>Aug-09 </c:v>
                </c:pt>
                <c:pt idx="182">
                  <c:v>Aug-09 </c:v>
                </c:pt>
                <c:pt idx="183">
                  <c:v>Aug-09 </c:v>
                </c:pt>
                <c:pt idx="184">
                  <c:v>Aug-09 </c:v>
                </c:pt>
                <c:pt idx="185">
                  <c:v>Aug-09 </c:v>
                </c:pt>
                <c:pt idx="186">
                  <c:v>Aug-09 </c:v>
                </c:pt>
                <c:pt idx="187">
                  <c:v>Aug-09 </c:v>
                </c:pt>
                <c:pt idx="188">
                  <c:v>Aug-09 </c:v>
                </c:pt>
                <c:pt idx="189">
                  <c:v>Aug-09 </c:v>
                </c:pt>
                <c:pt idx="190">
                  <c:v>Aug-09 </c:v>
                </c:pt>
                <c:pt idx="191">
                  <c:v>Aug-09 </c:v>
                </c:pt>
                <c:pt idx="192">
                  <c:v>Aug-09 </c:v>
                </c:pt>
                <c:pt idx="193">
                  <c:v>Aug-09 </c:v>
                </c:pt>
                <c:pt idx="194">
                  <c:v>Aug-09 </c:v>
                </c:pt>
                <c:pt idx="195">
                  <c:v>Aug-09 </c:v>
                </c:pt>
                <c:pt idx="196">
                  <c:v>Aug-09 </c:v>
                </c:pt>
                <c:pt idx="197">
                  <c:v>Aug-09 </c:v>
                </c:pt>
                <c:pt idx="198">
                  <c:v>Aug-09 </c:v>
                </c:pt>
                <c:pt idx="199">
                  <c:v>Aug-09 </c:v>
                </c:pt>
                <c:pt idx="200">
                  <c:v>Aug-09 </c:v>
                </c:pt>
                <c:pt idx="201">
                  <c:v>Sep-09</c:v>
                </c:pt>
                <c:pt idx="202">
                  <c:v>Sep-09</c:v>
                </c:pt>
                <c:pt idx="203">
                  <c:v>Sep-09</c:v>
                </c:pt>
                <c:pt idx="204">
                  <c:v>Sep-09</c:v>
                </c:pt>
                <c:pt idx="205">
                  <c:v>Sep-09</c:v>
                </c:pt>
                <c:pt idx="206">
                  <c:v>Sep-09</c:v>
                </c:pt>
                <c:pt idx="207">
                  <c:v>Sep-09</c:v>
                </c:pt>
                <c:pt idx="208">
                  <c:v>Sep-09</c:v>
                </c:pt>
                <c:pt idx="209">
                  <c:v>Sep-09</c:v>
                </c:pt>
                <c:pt idx="210">
                  <c:v>Sep-09</c:v>
                </c:pt>
                <c:pt idx="211">
                  <c:v>Sep-09</c:v>
                </c:pt>
                <c:pt idx="212">
                  <c:v>Sep-09</c:v>
                </c:pt>
                <c:pt idx="213">
                  <c:v>Sep-09</c:v>
                </c:pt>
                <c:pt idx="214">
                  <c:v>Sep-09</c:v>
                </c:pt>
                <c:pt idx="215">
                  <c:v>Sep-09</c:v>
                </c:pt>
                <c:pt idx="216">
                  <c:v>Sep-09</c:v>
                </c:pt>
                <c:pt idx="217">
                  <c:v>Sep-09</c:v>
                </c:pt>
                <c:pt idx="218">
                  <c:v>Sep-09</c:v>
                </c:pt>
                <c:pt idx="219">
                  <c:v>Sep-09</c:v>
                </c:pt>
                <c:pt idx="220">
                  <c:v>Sep-09</c:v>
                </c:pt>
                <c:pt idx="221">
                  <c:v>Sep-09</c:v>
                </c:pt>
                <c:pt idx="222">
                  <c:v>Sep-09</c:v>
                </c:pt>
                <c:pt idx="223">
                  <c:v>Oct-09</c:v>
                </c:pt>
                <c:pt idx="224">
                  <c:v>Oct-09</c:v>
                </c:pt>
                <c:pt idx="225">
                  <c:v>Oct-09</c:v>
                </c:pt>
                <c:pt idx="226">
                  <c:v>Oct-09</c:v>
                </c:pt>
                <c:pt idx="227">
                  <c:v>Oct-09</c:v>
                </c:pt>
                <c:pt idx="228">
                  <c:v>Oct-09</c:v>
                </c:pt>
                <c:pt idx="229">
                  <c:v>Oct-09</c:v>
                </c:pt>
                <c:pt idx="230">
                  <c:v>Oct-09</c:v>
                </c:pt>
                <c:pt idx="231">
                  <c:v>Oct-09</c:v>
                </c:pt>
                <c:pt idx="232">
                  <c:v>Oct-09</c:v>
                </c:pt>
                <c:pt idx="233">
                  <c:v>Oct-09</c:v>
                </c:pt>
                <c:pt idx="234">
                  <c:v>Oct-09</c:v>
                </c:pt>
                <c:pt idx="235">
                  <c:v>Oct-09</c:v>
                </c:pt>
                <c:pt idx="236">
                  <c:v>Oct-09</c:v>
                </c:pt>
                <c:pt idx="237">
                  <c:v>Oct-09</c:v>
                </c:pt>
                <c:pt idx="238">
                  <c:v>Oct-09</c:v>
                </c:pt>
                <c:pt idx="239">
                  <c:v>Oct-09</c:v>
                </c:pt>
                <c:pt idx="240">
                  <c:v>Oct-09</c:v>
                </c:pt>
                <c:pt idx="241">
                  <c:v>Oct-09</c:v>
                </c:pt>
                <c:pt idx="242">
                  <c:v>Oct-09</c:v>
                </c:pt>
                <c:pt idx="243">
                  <c:v>Oct-09</c:v>
                </c:pt>
                <c:pt idx="244">
                  <c:v>Oct-09</c:v>
                </c:pt>
                <c:pt idx="245">
                  <c:v>Nov-09 </c:v>
                </c:pt>
                <c:pt idx="246">
                  <c:v>Nov-09 </c:v>
                </c:pt>
                <c:pt idx="247">
                  <c:v>Nov-09 </c:v>
                </c:pt>
                <c:pt idx="248">
                  <c:v>Nov-09 </c:v>
                </c:pt>
                <c:pt idx="249">
                  <c:v>Nov-09 </c:v>
                </c:pt>
                <c:pt idx="250">
                  <c:v>Nov-09 </c:v>
                </c:pt>
                <c:pt idx="251">
                  <c:v>Nov-09 </c:v>
                </c:pt>
                <c:pt idx="252">
                  <c:v>Nov-09 </c:v>
                </c:pt>
                <c:pt idx="253">
                  <c:v>Nov-09 </c:v>
                </c:pt>
                <c:pt idx="254">
                  <c:v>Nov-09 </c:v>
                </c:pt>
                <c:pt idx="255">
                  <c:v>Nov-09 </c:v>
                </c:pt>
                <c:pt idx="256">
                  <c:v>Nov-09 </c:v>
                </c:pt>
                <c:pt idx="257">
                  <c:v>Nov-09 </c:v>
                </c:pt>
                <c:pt idx="258">
                  <c:v>Nov-09 </c:v>
                </c:pt>
                <c:pt idx="259">
                  <c:v>Nov-09 </c:v>
                </c:pt>
                <c:pt idx="260">
                  <c:v>Nov-09 </c:v>
                </c:pt>
                <c:pt idx="261">
                  <c:v>Nov-09 </c:v>
                </c:pt>
                <c:pt idx="262">
                  <c:v>Nov-09 </c:v>
                </c:pt>
                <c:pt idx="263">
                  <c:v>Nov-09 </c:v>
                </c:pt>
                <c:pt idx="264">
                  <c:v>Nov-09 </c:v>
                </c:pt>
                <c:pt idx="265">
                  <c:v>Nov-09 </c:v>
                </c:pt>
                <c:pt idx="266">
                  <c:v>Dec-09</c:v>
                </c:pt>
                <c:pt idx="267">
                  <c:v>Dec-09</c:v>
                </c:pt>
                <c:pt idx="268">
                  <c:v>Dec-09</c:v>
                </c:pt>
                <c:pt idx="269">
                  <c:v>Dec-09</c:v>
                </c:pt>
                <c:pt idx="270">
                  <c:v>Dec-09</c:v>
                </c:pt>
                <c:pt idx="271">
                  <c:v>Dec-09</c:v>
                </c:pt>
                <c:pt idx="272">
                  <c:v>Dec-09</c:v>
                </c:pt>
                <c:pt idx="273">
                  <c:v>Dec-09</c:v>
                </c:pt>
                <c:pt idx="274">
                  <c:v>Dec-09</c:v>
                </c:pt>
                <c:pt idx="275">
                  <c:v>Dec-09</c:v>
                </c:pt>
                <c:pt idx="276">
                  <c:v>Dec-09</c:v>
                </c:pt>
                <c:pt idx="277">
                  <c:v>Dec-09</c:v>
                </c:pt>
                <c:pt idx="278">
                  <c:v>Dec-09</c:v>
                </c:pt>
                <c:pt idx="279">
                  <c:v>Dec-09</c:v>
                </c:pt>
                <c:pt idx="280">
                  <c:v>Dec-09</c:v>
                </c:pt>
                <c:pt idx="281">
                  <c:v>Dec-09</c:v>
                </c:pt>
                <c:pt idx="282">
                  <c:v>Dec-09</c:v>
                </c:pt>
                <c:pt idx="283">
                  <c:v>Dec-09</c:v>
                </c:pt>
                <c:pt idx="284">
                  <c:v>Dec-09</c:v>
                </c:pt>
                <c:pt idx="285">
                  <c:v>Dec-09</c:v>
                </c:pt>
                <c:pt idx="286">
                  <c:v>Dec-09</c:v>
                </c:pt>
                <c:pt idx="287">
                  <c:v>Dec-09</c:v>
                </c:pt>
                <c:pt idx="288">
                  <c:v>Jan-10 </c:v>
                </c:pt>
                <c:pt idx="289">
                  <c:v>Jan-10 </c:v>
                </c:pt>
                <c:pt idx="290">
                  <c:v>Jan-10 </c:v>
                </c:pt>
                <c:pt idx="291">
                  <c:v>Jan-10 </c:v>
                </c:pt>
                <c:pt idx="292">
                  <c:v>Jan-10 </c:v>
                </c:pt>
                <c:pt idx="293">
                  <c:v>Jan-10 </c:v>
                </c:pt>
                <c:pt idx="294">
                  <c:v>Jan-10 </c:v>
                </c:pt>
                <c:pt idx="295">
                  <c:v>Jan-10 </c:v>
                </c:pt>
                <c:pt idx="296">
                  <c:v>Jan-10 </c:v>
                </c:pt>
                <c:pt idx="297">
                  <c:v>Jan-10 </c:v>
                </c:pt>
                <c:pt idx="298">
                  <c:v>Jan-10 </c:v>
                </c:pt>
                <c:pt idx="299">
                  <c:v>Jan-10 </c:v>
                </c:pt>
                <c:pt idx="300">
                  <c:v>Jan-10 </c:v>
                </c:pt>
                <c:pt idx="301">
                  <c:v>Jan-10 </c:v>
                </c:pt>
                <c:pt idx="302">
                  <c:v>Jan-10 </c:v>
                </c:pt>
                <c:pt idx="303">
                  <c:v>Jan-10 </c:v>
                </c:pt>
                <c:pt idx="304">
                  <c:v>Jan-10 </c:v>
                </c:pt>
                <c:pt idx="305">
                  <c:v>Jan-10 </c:v>
                </c:pt>
                <c:pt idx="306">
                  <c:v>Jan-10 </c:v>
                </c:pt>
                <c:pt idx="307">
                  <c:v>Jan-10 </c:v>
                </c:pt>
                <c:pt idx="308">
                  <c:v>Feb-10 </c:v>
                </c:pt>
                <c:pt idx="309">
                  <c:v>Feb-10 </c:v>
                </c:pt>
                <c:pt idx="310">
                  <c:v>Feb-10 </c:v>
                </c:pt>
                <c:pt idx="311">
                  <c:v>Feb-10 </c:v>
                </c:pt>
                <c:pt idx="312">
                  <c:v>Feb-10 </c:v>
                </c:pt>
                <c:pt idx="313">
                  <c:v>Feb-10 </c:v>
                </c:pt>
                <c:pt idx="314">
                  <c:v>Feb-10 </c:v>
                </c:pt>
                <c:pt idx="315">
                  <c:v>Feb-10 </c:v>
                </c:pt>
                <c:pt idx="316">
                  <c:v>Feb-10 </c:v>
                </c:pt>
                <c:pt idx="317">
                  <c:v>Feb-10 </c:v>
                </c:pt>
                <c:pt idx="318">
                  <c:v>Feb-10 </c:v>
                </c:pt>
                <c:pt idx="319">
                  <c:v>Feb-10 </c:v>
                </c:pt>
                <c:pt idx="320">
                  <c:v>Feb-10 </c:v>
                </c:pt>
                <c:pt idx="321">
                  <c:v>Feb-10 </c:v>
                </c:pt>
                <c:pt idx="322">
                  <c:v>Feb-10 </c:v>
                </c:pt>
                <c:pt idx="323">
                  <c:v>Feb-10 </c:v>
                </c:pt>
                <c:pt idx="324">
                  <c:v>Feb-10 </c:v>
                </c:pt>
                <c:pt idx="325">
                  <c:v>Feb-10 </c:v>
                </c:pt>
                <c:pt idx="326">
                  <c:v>Feb-10 </c:v>
                </c:pt>
                <c:pt idx="327">
                  <c:v>Feb-10 </c:v>
                </c:pt>
                <c:pt idx="328">
                  <c:v>Mar-10 </c:v>
                </c:pt>
                <c:pt idx="329">
                  <c:v>Mar-10 </c:v>
                </c:pt>
                <c:pt idx="330">
                  <c:v>Mar-10 </c:v>
                </c:pt>
                <c:pt idx="331">
                  <c:v>Mar-10 </c:v>
                </c:pt>
                <c:pt idx="332">
                  <c:v>Mar-10 </c:v>
                </c:pt>
                <c:pt idx="333">
                  <c:v>Mar-10 </c:v>
                </c:pt>
                <c:pt idx="334">
                  <c:v>Mar-10 </c:v>
                </c:pt>
                <c:pt idx="335">
                  <c:v>Mar-10 </c:v>
                </c:pt>
                <c:pt idx="336">
                  <c:v>Mar-10 </c:v>
                </c:pt>
                <c:pt idx="337">
                  <c:v>Mar-10 </c:v>
                </c:pt>
                <c:pt idx="338">
                  <c:v>Mar-10 </c:v>
                </c:pt>
                <c:pt idx="339">
                  <c:v>Mar-10 </c:v>
                </c:pt>
                <c:pt idx="340">
                  <c:v>Mar-10 </c:v>
                </c:pt>
                <c:pt idx="341">
                  <c:v>Mar-10 </c:v>
                </c:pt>
                <c:pt idx="342">
                  <c:v>Mar-10 </c:v>
                </c:pt>
                <c:pt idx="343">
                  <c:v>Mar-10 </c:v>
                </c:pt>
                <c:pt idx="344">
                  <c:v>Mar-10 </c:v>
                </c:pt>
                <c:pt idx="345">
                  <c:v>Mar-10 </c:v>
                </c:pt>
                <c:pt idx="346">
                  <c:v>Mar-10 </c:v>
                </c:pt>
                <c:pt idx="347">
                  <c:v>Mar-10 </c:v>
                </c:pt>
                <c:pt idx="348">
                  <c:v>Mar-10 </c:v>
                </c:pt>
                <c:pt idx="349">
                  <c:v>Mar-10 </c:v>
                </c:pt>
                <c:pt idx="350">
                  <c:v>Mar-10 </c:v>
                </c:pt>
                <c:pt idx="351">
                  <c:v>Apr-10</c:v>
                </c:pt>
                <c:pt idx="352">
                  <c:v>Apr-10</c:v>
                </c:pt>
                <c:pt idx="353">
                  <c:v>Apr-10</c:v>
                </c:pt>
                <c:pt idx="354">
                  <c:v>Apr-10</c:v>
                </c:pt>
                <c:pt idx="355">
                  <c:v>Apr-10</c:v>
                </c:pt>
                <c:pt idx="356">
                  <c:v>Apr-10</c:v>
                </c:pt>
                <c:pt idx="357">
                  <c:v>Apr-10</c:v>
                </c:pt>
                <c:pt idx="358">
                  <c:v>Apr-10</c:v>
                </c:pt>
                <c:pt idx="359">
                  <c:v>Apr-10</c:v>
                </c:pt>
                <c:pt idx="360">
                  <c:v>Apr-10</c:v>
                </c:pt>
                <c:pt idx="361">
                  <c:v>Apr-10</c:v>
                </c:pt>
                <c:pt idx="362">
                  <c:v>Apr-10</c:v>
                </c:pt>
                <c:pt idx="363">
                  <c:v>Apr-10</c:v>
                </c:pt>
                <c:pt idx="364">
                  <c:v>Apr-10</c:v>
                </c:pt>
                <c:pt idx="365">
                  <c:v>Apr-10</c:v>
                </c:pt>
                <c:pt idx="366">
                  <c:v>Apr-10</c:v>
                </c:pt>
                <c:pt idx="367">
                  <c:v>Apr-10</c:v>
                </c:pt>
                <c:pt idx="368">
                  <c:v>Apr-10</c:v>
                </c:pt>
                <c:pt idx="369">
                  <c:v>Apr-10</c:v>
                </c:pt>
                <c:pt idx="370">
                  <c:v>Apr-10</c:v>
                </c:pt>
                <c:pt idx="371">
                  <c:v>May-10 </c:v>
                </c:pt>
                <c:pt idx="372">
                  <c:v>May-10 </c:v>
                </c:pt>
                <c:pt idx="373">
                  <c:v>May-10 </c:v>
                </c:pt>
                <c:pt idx="374">
                  <c:v>May-10 </c:v>
                </c:pt>
                <c:pt idx="375">
                  <c:v>May-10 </c:v>
                </c:pt>
                <c:pt idx="376">
                  <c:v>May-10 </c:v>
                </c:pt>
                <c:pt idx="377">
                  <c:v>May-10 </c:v>
                </c:pt>
                <c:pt idx="378">
                  <c:v>May-10 </c:v>
                </c:pt>
                <c:pt idx="379">
                  <c:v>May-10 </c:v>
                </c:pt>
                <c:pt idx="380">
                  <c:v>May-10 </c:v>
                </c:pt>
                <c:pt idx="381">
                  <c:v>May-10 </c:v>
                </c:pt>
                <c:pt idx="382">
                  <c:v>May-10 </c:v>
                </c:pt>
                <c:pt idx="383">
                  <c:v>May-10 </c:v>
                </c:pt>
                <c:pt idx="384">
                  <c:v>May-10 </c:v>
                </c:pt>
                <c:pt idx="385">
                  <c:v>May-10 </c:v>
                </c:pt>
                <c:pt idx="386">
                  <c:v>May-10 </c:v>
                </c:pt>
                <c:pt idx="387">
                  <c:v>May-10 </c:v>
                </c:pt>
                <c:pt idx="388">
                  <c:v>May-10 </c:v>
                </c:pt>
                <c:pt idx="389">
                  <c:v>May-10 </c:v>
                </c:pt>
                <c:pt idx="390">
                  <c:v>May-10 </c:v>
                </c:pt>
                <c:pt idx="391">
                  <c:v>May-10 </c:v>
                </c:pt>
                <c:pt idx="392">
                  <c:v>Jun-10 </c:v>
                </c:pt>
                <c:pt idx="393">
                  <c:v>Jun-10 </c:v>
                </c:pt>
                <c:pt idx="394">
                  <c:v>Jun-10 </c:v>
                </c:pt>
                <c:pt idx="395">
                  <c:v>Jun-10 </c:v>
                </c:pt>
                <c:pt idx="396">
                  <c:v>Jun-10 </c:v>
                </c:pt>
                <c:pt idx="397">
                  <c:v>Jun-10 </c:v>
                </c:pt>
                <c:pt idx="398">
                  <c:v>Jun-10 </c:v>
                </c:pt>
                <c:pt idx="399">
                  <c:v>Jun-10 </c:v>
                </c:pt>
                <c:pt idx="400">
                  <c:v>Jun-10 </c:v>
                </c:pt>
                <c:pt idx="401">
                  <c:v>Jun-10 </c:v>
                </c:pt>
                <c:pt idx="402">
                  <c:v>Jun-10 </c:v>
                </c:pt>
                <c:pt idx="403">
                  <c:v>Jun-10 </c:v>
                </c:pt>
                <c:pt idx="404">
                  <c:v>Jun-10 </c:v>
                </c:pt>
                <c:pt idx="405">
                  <c:v>Jun-10 </c:v>
                </c:pt>
                <c:pt idx="406">
                  <c:v>Jun-10 </c:v>
                </c:pt>
                <c:pt idx="407">
                  <c:v>Jun-10 </c:v>
                </c:pt>
                <c:pt idx="408">
                  <c:v>Jun-10 </c:v>
                </c:pt>
                <c:pt idx="409">
                  <c:v>Jun-10 </c:v>
                </c:pt>
                <c:pt idx="410">
                  <c:v>Jun-10 </c:v>
                </c:pt>
                <c:pt idx="411">
                  <c:v>Jun-10 </c:v>
                </c:pt>
                <c:pt idx="412">
                  <c:v>Jun-10 </c:v>
                </c:pt>
                <c:pt idx="413">
                  <c:v>Jun-10 </c:v>
                </c:pt>
                <c:pt idx="414">
                  <c:v>Jul-10 A4432</c:v>
                </c:pt>
                <c:pt idx="415">
                  <c:v>Jul-10 2</c:v>
                </c:pt>
                <c:pt idx="416">
                  <c:v>Jul-10 2</c:v>
                </c:pt>
                <c:pt idx="417">
                  <c:v>Jul-10 2</c:v>
                </c:pt>
                <c:pt idx="418">
                  <c:v>Jul-10 2</c:v>
                </c:pt>
                <c:pt idx="419">
                  <c:v>Jul-10 2</c:v>
                </c:pt>
                <c:pt idx="420">
                  <c:v>Jul-10 2</c:v>
                </c:pt>
                <c:pt idx="421">
                  <c:v>Jul-10 2</c:v>
                </c:pt>
                <c:pt idx="422">
                  <c:v>Jul-10 2</c:v>
                </c:pt>
                <c:pt idx="423">
                  <c:v>Jul-10 2</c:v>
                </c:pt>
                <c:pt idx="424">
                  <c:v>Jul-10 2</c:v>
                </c:pt>
                <c:pt idx="425">
                  <c:v>Jul-10 2</c:v>
                </c:pt>
                <c:pt idx="426">
                  <c:v>Jul-10 2</c:v>
                </c:pt>
                <c:pt idx="427">
                  <c:v>Jul-10 2</c:v>
                </c:pt>
                <c:pt idx="428">
                  <c:v>Jul-10 2</c:v>
                </c:pt>
                <c:pt idx="429">
                  <c:v>Jul-10 2</c:v>
                </c:pt>
                <c:pt idx="430">
                  <c:v>Jul-10 2</c:v>
                </c:pt>
                <c:pt idx="431">
                  <c:v>Jul-10 2</c:v>
                </c:pt>
                <c:pt idx="432">
                  <c:v>Jul-10 2</c:v>
                </c:pt>
                <c:pt idx="433">
                  <c:v>Jul-10 2</c:v>
                </c:pt>
                <c:pt idx="434">
                  <c:v>Jul-10 2</c:v>
                </c:pt>
                <c:pt idx="435">
                  <c:v>Jul-10 2</c:v>
                </c:pt>
                <c:pt idx="436">
                  <c:v>Aug-10 </c:v>
                </c:pt>
                <c:pt idx="437">
                  <c:v>Aug-10 </c:v>
                </c:pt>
                <c:pt idx="438">
                  <c:v>Aug-10 </c:v>
                </c:pt>
                <c:pt idx="439">
                  <c:v>Aug-10 </c:v>
                </c:pt>
                <c:pt idx="440">
                  <c:v>Aug-10 </c:v>
                </c:pt>
                <c:pt idx="441">
                  <c:v>Aug-10 </c:v>
                </c:pt>
                <c:pt idx="442">
                  <c:v>Aug-10 </c:v>
                </c:pt>
                <c:pt idx="443">
                  <c:v>Aug-10 </c:v>
                </c:pt>
                <c:pt idx="444">
                  <c:v>Aug-10 </c:v>
                </c:pt>
                <c:pt idx="445">
                  <c:v>Aug-10 </c:v>
                </c:pt>
                <c:pt idx="446">
                  <c:v>Aug-10 </c:v>
                </c:pt>
                <c:pt idx="447">
                  <c:v>Aug-10 </c:v>
                </c:pt>
                <c:pt idx="448">
                  <c:v>Aug-10 </c:v>
                </c:pt>
                <c:pt idx="449">
                  <c:v>Aug-10 </c:v>
                </c:pt>
                <c:pt idx="450">
                  <c:v>Aug-10 </c:v>
                </c:pt>
                <c:pt idx="451">
                  <c:v>Aug-10 </c:v>
                </c:pt>
                <c:pt idx="452">
                  <c:v>Aug-10 </c:v>
                </c:pt>
                <c:pt idx="453">
                  <c:v>Aug-10 </c:v>
                </c:pt>
                <c:pt idx="454">
                  <c:v>Aug-10 </c:v>
                </c:pt>
                <c:pt idx="455">
                  <c:v>Aug-10 </c:v>
                </c:pt>
                <c:pt idx="456">
                  <c:v>Aug-10 </c:v>
                </c:pt>
                <c:pt idx="457">
                  <c:v>Aug-10 </c:v>
                </c:pt>
                <c:pt idx="458">
                  <c:v>Sep-10</c:v>
                </c:pt>
                <c:pt idx="459">
                  <c:v>Sep-10</c:v>
                </c:pt>
                <c:pt idx="460">
                  <c:v>Sep-10</c:v>
                </c:pt>
                <c:pt idx="461">
                  <c:v>Sep-10</c:v>
                </c:pt>
                <c:pt idx="462">
                  <c:v>Sep-10</c:v>
                </c:pt>
                <c:pt idx="463">
                  <c:v>Sep-10</c:v>
                </c:pt>
                <c:pt idx="464">
                  <c:v>Sep-10</c:v>
                </c:pt>
                <c:pt idx="465">
                  <c:v>Sep-10</c:v>
                </c:pt>
                <c:pt idx="466">
                  <c:v>Sep-10</c:v>
                </c:pt>
                <c:pt idx="467">
                  <c:v>Sep-10</c:v>
                </c:pt>
                <c:pt idx="468">
                  <c:v>Sep-10</c:v>
                </c:pt>
                <c:pt idx="469">
                  <c:v>Sep-10</c:v>
                </c:pt>
                <c:pt idx="470">
                  <c:v>Sep-10</c:v>
                </c:pt>
                <c:pt idx="471">
                  <c:v>Sep-10</c:v>
                </c:pt>
                <c:pt idx="472">
                  <c:v>Sep-10</c:v>
                </c:pt>
                <c:pt idx="473">
                  <c:v>Sep-10</c:v>
                </c:pt>
                <c:pt idx="474">
                  <c:v>Sep-10</c:v>
                </c:pt>
                <c:pt idx="475">
                  <c:v>Sep-10</c:v>
                </c:pt>
                <c:pt idx="476">
                  <c:v>Sep-10</c:v>
                </c:pt>
                <c:pt idx="477">
                  <c:v>Sep-10</c:v>
                </c:pt>
                <c:pt idx="478">
                  <c:v>Sep-10</c:v>
                </c:pt>
                <c:pt idx="479">
                  <c:v>Sep-10</c:v>
                </c:pt>
                <c:pt idx="480">
                  <c:v>Oct-10</c:v>
                </c:pt>
                <c:pt idx="481">
                  <c:v>Oct-10</c:v>
                </c:pt>
                <c:pt idx="482">
                  <c:v>Oct-10</c:v>
                </c:pt>
                <c:pt idx="483">
                  <c:v>Oct-10</c:v>
                </c:pt>
                <c:pt idx="484">
                  <c:v>Oct-10</c:v>
                </c:pt>
                <c:pt idx="485">
                  <c:v>Oct-10</c:v>
                </c:pt>
                <c:pt idx="486">
                  <c:v>Oct-10</c:v>
                </c:pt>
                <c:pt idx="487">
                  <c:v>Oct-10</c:v>
                </c:pt>
                <c:pt idx="488">
                  <c:v>Oct-10</c:v>
                </c:pt>
                <c:pt idx="489">
                  <c:v>Oct-10</c:v>
                </c:pt>
                <c:pt idx="490">
                  <c:v>Oct-10</c:v>
                </c:pt>
                <c:pt idx="491">
                  <c:v>Oct-10</c:v>
                </c:pt>
                <c:pt idx="492">
                  <c:v>Oct-10</c:v>
                </c:pt>
                <c:pt idx="493">
                  <c:v>Oct-10</c:v>
                </c:pt>
                <c:pt idx="494">
                  <c:v>Oct-10</c:v>
                </c:pt>
                <c:pt idx="495">
                  <c:v>Oct-10</c:v>
                </c:pt>
                <c:pt idx="496">
                  <c:v>Oct-10</c:v>
                </c:pt>
                <c:pt idx="497">
                  <c:v>Oct-10</c:v>
                </c:pt>
                <c:pt idx="498">
                  <c:v>Oct-10</c:v>
                </c:pt>
                <c:pt idx="499">
                  <c:v>Oct-10</c:v>
                </c:pt>
                <c:pt idx="500">
                  <c:v>Oct-10</c:v>
                </c:pt>
                <c:pt idx="501">
                  <c:v>Nov-10 </c:v>
                </c:pt>
                <c:pt idx="502">
                  <c:v>Nov-10 </c:v>
                </c:pt>
                <c:pt idx="503">
                  <c:v>Nov-10 </c:v>
                </c:pt>
                <c:pt idx="504">
                  <c:v>Nov-10 </c:v>
                </c:pt>
                <c:pt idx="505">
                  <c:v>Nov-10 </c:v>
                </c:pt>
                <c:pt idx="506">
                  <c:v>Nov-10 </c:v>
                </c:pt>
                <c:pt idx="507">
                  <c:v>Nov-10 </c:v>
                </c:pt>
                <c:pt idx="508">
                  <c:v>Nov-10 </c:v>
                </c:pt>
                <c:pt idx="509">
                  <c:v>Nov-10 </c:v>
                </c:pt>
                <c:pt idx="510">
                  <c:v>Nov-10 </c:v>
                </c:pt>
                <c:pt idx="511">
                  <c:v>Nov-10 </c:v>
                </c:pt>
                <c:pt idx="512">
                  <c:v>Nov-10 </c:v>
                </c:pt>
                <c:pt idx="513">
                  <c:v>Nov-10 </c:v>
                </c:pt>
                <c:pt idx="514">
                  <c:v>Nov-10 </c:v>
                </c:pt>
                <c:pt idx="515">
                  <c:v>Nov-10 </c:v>
                </c:pt>
                <c:pt idx="516">
                  <c:v>Nov-10 </c:v>
                </c:pt>
                <c:pt idx="517">
                  <c:v>Nov-10 </c:v>
                </c:pt>
                <c:pt idx="518">
                  <c:v>Nov-10 </c:v>
                </c:pt>
                <c:pt idx="519">
                  <c:v>Nov-10 </c:v>
                </c:pt>
                <c:pt idx="520">
                  <c:v>Nov-10 </c:v>
                </c:pt>
                <c:pt idx="521">
                  <c:v>Nov-10 </c:v>
                </c:pt>
                <c:pt idx="522">
                  <c:v>Nov-10 </c:v>
                </c:pt>
                <c:pt idx="523">
                  <c:v>Dec-10</c:v>
                </c:pt>
                <c:pt idx="524">
                  <c:v>Dec-10</c:v>
                </c:pt>
                <c:pt idx="525">
                  <c:v>Dec-10</c:v>
                </c:pt>
                <c:pt idx="526">
                  <c:v>Dec-10</c:v>
                </c:pt>
                <c:pt idx="527">
                  <c:v>Dec-10</c:v>
                </c:pt>
                <c:pt idx="528">
                  <c:v>Dec-10</c:v>
                </c:pt>
                <c:pt idx="529">
                  <c:v>Dec-10</c:v>
                </c:pt>
                <c:pt idx="530">
                  <c:v>Dec-10</c:v>
                </c:pt>
                <c:pt idx="531">
                  <c:v>Dec-10</c:v>
                </c:pt>
                <c:pt idx="532">
                  <c:v>Dec-10</c:v>
                </c:pt>
                <c:pt idx="533">
                  <c:v>Dec-10</c:v>
                </c:pt>
                <c:pt idx="534">
                  <c:v>Dec-10</c:v>
                </c:pt>
                <c:pt idx="535">
                  <c:v>Dec-10</c:v>
                </c:pt>
                <c:pt idx="536">
                  <c:v>Dec-10</c:v>
                </c:pt>
                <c:pt idx="537">
                  <c:v>Dec-10</c:v>
                </c:pt>
                <c:pt idx="538">
                  <c:v>Dec-10</c:v>
                </c:pt>
                <c:pt idx="539">
                  <c:v>Dec-10</c:v>
                </c:pt>
                <c:pt idx="540">
                  <c:v>Dec-10</c:v>
                </c:pt>
                <c:pt idx="541">
                  <c:v>Dec-10</c:v>
                </c:pt>
                <c:pt idx="542">
                  <c:v>Dec-10</c:v>
                </c:pt>
                <c:pt idx="543">
                  <c:v>Dec-10</c:v>
                </c:pt>
                <c:pt idx="544">
                  <c:v>Dec-10</c:v>
                </c:pt>
                <c:pt idx="545">
                  <c:v>Dec-10</c:v>
                </c:pt>
                <c:pt idx="546">
                  <c:v>Jan-11 </c:v>
                </c:pt>
                <c:pt idx="547">
                  <c:v>Jan-11 </c:v>
                </c:pt>
                <c:pt idx="548">
                  <c:v>Jan-11 </c:v>
                </c:pt>
                <c:pt idx="549">
                  <c:v>Jan-11 </c:v>
                </c:pt>
                <c:pt idx="550">
                  <c:v>Jan-11 </c:v>
                </c:pt>
                <c:pt idx="551">
                  <c:v>Jan-11 </c:v>
                </c:pt>
                <c:pt idx="552">
                  <c:v>Jan-11 </c:v>
                </c:pt>
                <c:pt idx="553">
                  <c:v>Jan-11 </c:v>
                </c:pt>
                <c:pt idx="554">
                  <c:v>Jan-11 </c:v>
                </c:pt>
                <c:pt idx="555">
                  <c:v>Jan-11 </c:v>
                </c:pt>
                <c:pt idx="556">
                  <c:v>Jan-11 </c:v>
                </c:pt>
                <c:pt idx="557">
                  <c:v>Jan-11 </c:v>
                </c:pt>
                <c:pt idx="558">
                  <c:v>Jan-11 </c:v>
                </c:pt>
                <c:pt idx="559">
                  <c:v>Jan-11 </c:v>
                </c:pt>
                <c:pt idx="560">
                  <c:v>Jan-11 </c:v>
                </c:pt>
                <c:pt idx="561">
                  <c:v>Jan-11 </c:v>
                </c:pt>
                <c:pt idx="562">
                  <c:v>Jan-11 </c:v>
                </c:pt>
                <c:pt idx="563">
                  <c:v>Jan-11 </c:v>
                </c:pt>
                <c:pt idx="564">
                  <c:v>Jan-11 </c:v>
                </c:pt>
                <c:pt idx="565">
                  <c:v>Jan-11 </c:v>
                </c:pt>
                <c:pt idx="566">
                  <c:v>Jan-11 </c:v>
                </c:pt>
                <c:pt idx="567">
                  <c:v>Feb-11 </c:v>
                </c:pt>
                <c:pt idx="568">
                  <c:v>Feb-11 </c:v>
                </c:pt>
                <c:pt idx="569">
                  <c:v>Feb-11 </c:v>
                </c:pt>
                <c:pt idx="570">
                  <c:v>Feb-11 </c:v>
                </c:pt>
                <c:pt idx="571">
                  <c:v>Feb-11 </c:v>
                </c:pt>
                <c:pt idx="572">
                  <c:v>Feb-11 </c:v>
                </c:pt>
                <c:pt idx="573">
                  <c:v>Feb-11 </c:v>
                </c:pt>
                <c:pt idx="574">
                  <c:v>Feb-11 </c:v>
                </c:pt>
                <c:pt idx="575">
                  <c:v>Feb-11 </c:v>
                </c:pt>
                <c:pt idx="576">
                  <c:v>Feb-11 </c:v>
                </c:pt>
                <c:pt idx="577">
                  <c:v>Feb-11 </c:v>
                </c:pt>
                <c:pt idx="578">
                  <c:v>Feb-11 </c:v>
                </c:pt>
                <c:pt idx="579">
                  <c:v>Feb-11 </c:v>
                </c:pt>
                <c:pt idx="580">
                  <c:v>Feb-11 </c:v>
                </c:pt>
                <c:pt idx="581">
                  <c:v>Feb-11 </c:v>
                </c:pt>
                <c:pt idx="582">
                  <c:v>Feb-11 </c:v>
                </c:pt>
                <c:pt idx="583">
                  <c:v>Feb-11 </c:v>
                </c:pt>
                <c:pt idx="584">
                  <c:v>Feb-11 </c:v>
                </c:pt>
                <c:pt idx="585">
                  <c:v>Feb-11 </c:v>
                </c:pt>
                <c:pt idx="586">
                  <c:v>Feb-11 </c:v>
                </c:pt>
                <c:pt idx="587">
                  <c:v>Mar-11 </c:v>
                </c:pt>
                <c:pt idx="588">
                  <c:v>Mar-11 </c:v>
                </c:pt>
                <c:pt idx="589">
                  <c:v>Mar-11 </c:v>
                </c:pt>
                <c:pt idx="590">
                  <c:v>Mar-11 </c:v>
                </c:pt>
                <c:pt idx="591">
                  <c:v>Mar-11 </c:v>
                </c:pt>
                <c:pt idx="592">
                  <c:v>Mar-11 </c:v>
                </c:pt>
                <c:pt idx="593">
                  <c:v>Mar-11 </c:v>
                </c:pt>
                <c:pt idx="594">
                  <c:v>Mar-11 </c:v>
                </c:pt>
                <c:pt idx="595">
                  <c:v>Mar-11 </c:v>
                </c:pt>
                <c:pt idx="596">
                  <c:v>Mar-11 </c:v>
                </c:pt>
                <c:pt idx="597">
                  <c:v>Mar-11 </c:v>
                </c:pt>
                <c:pt idx="598">
                  <c:v>Mar-11 </c:v>
                </c:pt>
                <c:pt idx="599">
                  <c:v>Mar-11 </c:v>
                </c:pt>
                <c:pt idx="600">
                  <c:v>Mar-11 </c:v>
                </c:pt>
                <c:pt idx="601">
                  <c:v>Mar-11 </c:v>
                </c:pt>
                <c:pt idx="602">
                  <c:v>Mar-11 </c:v>
                </c:pt>
                <c:pt idx="603">
                  <c:v>Mar-11 </c:v>
                </c:pt>
                <c:pt idx="604">
                  <c:v>Mar-11 </c:v>
                </c:pt>
                <c:pt idx="605">
                  <c:v>Mar-11 </c:v>
                </c:pt>
                <c:pt idx="606">
                  <c:v>Mar-11 </c:v>
                </c:pt>
                <c:pt idx="607">
                  <c:v>Mar-11 </c:v>
                </c:pt>
                <c:pt idx="608">
                  <c:v>Mar-11 </c:v>
                </c:pt>
                <c:pt idx="609">
                  <c:v>Mar-11 </c:v>
                </c:pt>
                <c:pt idx="610">
                  <c:v>Apr-11</c:v>
                </c:pt>
                <c:pt idx="611">
                  <c:v>Apr-11</c:v>
                </c:pt>
                <c:pt idx="612">
                  <c:v>Apr-11</c:v>
                </c:pt>
                <c:pt idx="613">
                  <c:v>Apr-11</c:v>
                </c:pt>
                <c:pt idx="614">
                  <c:v>Apr-11</c:v>
                </c:pt>
                <c:pt idx="615">
                  <c:v>Apr-11</c:v>
                </c:pt>
                <c:pt idx="616">
                  <c:v>Apr-11</c:v>
                </c:pt>
                <c:pt idx="617">
                  <c:v>Apr-11</c:v>
                </c:pt>
                <c:pt idx="618">
                  <c:v>Apr-11</c:v>
                </c:pt>
                <c:pt idx="619">
                  <c:v>Apr-11</c:v>
                </c:pt>
                <c:pt idx="620">
                  <c:v>Apr-11</c:v>
                </c:pt>
                <c:pt idx="621">
                  <c:v>Apr-11</c:v>
                </c:pt>
                <c:pt idx="622">
                  <c:v>Apr-11</c:v>
                </c:pt>
                <c:pt idx="623">
                  <c:v>Apr-11</c:v>
                </c:pt>
                <c:pt idx="624">
                  <c:v>Apr-11</c:v>
                </c:pt>
                <c:pt idx="625">
                  <c:v>Apr-11</c:v>
                </c:pt>
                <c:pt idx="626">
                  <c:v>Apr-11</c:v>
                </c:pt>
                <c:pt idx="627">
                  <c:v>Apr-11</c:v>
                </c:pt>
                <c:pt idx="628">
                  <c:v>Apr-11</c:v>
                </c:pt>
                <c:pt idx="629">
                  <c:v>May-11 </c:v>
                </c:pt>
                <c:pt idx="630">
                  <c:v>May-11 </c:v>
                </c:pt>
                <c:pt idx="631">
                  <c:v>May-11 </c:v>
                </c:pt>
                <c:pt idx="632">
                  <c:v>May-11 </c:v>
                </c:pt>
                <c:pt idx="633">
                  <c:v>May-11 </c:v>
                </c:pt>
                <c:pt idx="634">
                  <c:v>May-11 </c:v>
                </c:pt>
                <c:pt idx="635">
                  <c:v>May-11 </c:v>
                </c:pt>
                <c:pt idx="636">
                  <c:v>May-11 </c:v>
                </c:pt>
                <c:pt idx="637">
                  <c:v>May-11 </c:v>
                </c:pt>
                <c:pt idx="638">
                  <c:v>May-11 </c:v>
                </c:pt>
                <c:pt idx="639">
                  <c:v>May-11 </c:v>
                </c:pt>
                <c:pt idx="640">
                  <c:v>May-11 </c:v>
                </c:pt>
                <c:pt idx="641">
                  <c:v>May-11 </c:v>
                </c:pt>
                <c:pt idx="642">
                  <c:v>May-11 </c:v>
                </c:pt>
                <c:pt idx="643">
                  <c:v>May-11 </c:v>
                </c:pt>
                <c:pt idx="644">
                  <c:v>May-11 </c:v>
                </c:pt>
                <c:pt idx="645">
                  <c:v>May-11 </c:v>
                </c:pt>
                <c:pt idx="646">
                  <c:v>May-11 </c:v>
                </c:pt>
                <c:pt idx="647">
                  <c:v>May-11 </c:v>
                </c:pt>
                <c:pt idx="648">
                  <c:v>May-11 </c:v>
                </c:pt>
                <c:pt idx="649">
                  <c:v>May-11 </c:v>
                </c:pt>
                <c:pt idx="650">
                  <c:v>May-11 </c:v>
                </c:pt>
                <c:pt idx="651">
                  <c:v>Jun-11 </c:v>
                </c:pt>
                <c:pt idx="652">
                  <c:v>Jun-11 </c:v>
                </c:pt>
                <c:pt idx="653">
                  <c:v>Jun-11 </c:v>
                </c:pt>
                <c:pt idx="654">
                  <c:v>Jun-11 </c:v>
                </c:pt>
                <c:pt idx="655">
                  <c:v>Jun-11 </c:v>
                </c:pt>
                <c:pt idx="656">
                  <c:v>Jun-11 </c:v>
                </c:pt>
                <c:pt idx="657">
                  <c:v>Jun-11 </c:v>
                </c:pt>
                <c:pt idx="658">
                  <c:v>Jun-11 </c:v>
                </c:pt>
                <c:pt idx="659">
                  <c:v>Jun-11 </c:v>
                </c:pt>
                <c:pt idx="660">
                  <c:v>Jun-11 </c:v>
                </c:pt>
                <c:pt idx="661">
                  <c:v>Jun-11 </c:v>
                </c:pt>
                <c:pt idx="662">
                  <c:v>Jun-11 </c:v>
                </c:pt>
                <c:pt idx="663">
                  <c:v>Jun-11 </c:v>
                </c:pt>
                <c:pt idx="664">
                  <c:v>Jun-11 </c:v>
                </c:pt>
                <c:pt idx="665">
                  <c:v>Jun-11 </c:v>
                </c:pt>
                <c:pt idx="666">
                  <c:v>Jun-11 </c:v>
                </c:pt>
                <c:pt idx="667">
                  <c:v>Jun-11 </c:v>
                </c:pt>
                <c:pt idx="668">
                  <c:v>Jun-11 </c:v>
                </c:pt>
                <c:pt idx="669">
                  <c:v>Jun-11 </c:v>
                </c:pt>
                <c:pt idx="670">
                  <c:v>Jun-11 </c:v>
                </c:pt>
                <c:pt idx="671">
                  <c:v>Jun-11 </c:v>
                </c:pt>
                <c:pt idx="672">
                  <c:v>Jun-11 </c:v>
                </c:pt>
                <c:pt idx="673">
                  <c:v>Jul-11</c:v>
                </c:pt>
                <c:pt idx="674">
                  <c:v>Jul-11</c:v>
                </c:pt>
                <c:pt idx="675">
                  <c:v>Jul-11</c:v>
                </c:pt>
                <c:pt idx="676">
                  <c:v>Jul-11</c:v>
                </c:pt>
                <c:pt idx="677">
                  <c:v>Jul-11</c:v>
                </c:pt>
                <c:pt idx="678">
                  <c:v>Jul-11</c:v>
                </c:pt>
                <c:pt idx="679">
                  <c:v>Jul-11</c:v>
                </c:pt>
                <c:pt idx="680">
                  <c:v>Jul-11</c:v>
                </c:pt>
                <c:pt idx="681">
                  <c:v>Jul-11</c:v>
                </c:pt>
                <c:pt idx="682">
                  <c:v>Jul-11</c:v>
                </c:pt>
                <c:pt idx="683">
                  <c:v>Jul-11</c:v>
                </c:pt>
                <c:pt idx="684">
                  <c:v>Jul-11</c:v>
                </c:pt>
                <c:pt idx="685">
                  <c:v>Jul-11</c:v>
                </c:pt>
                <c:pt idx="686">
                  <c:v>Jul-11</c:v>
                </c:pt>
                <c:pt idx="687">
                  <c:v>Jul-11</c:v>
                </c:pt>
                <c:pt idx="688">
                  <c:v>Jul-11</c:v>
                </c:pt>
                <c:pt idx="689">
                  <c:v>Jul-11</c:v>
                </c:pt>
                <c:pt idx="690">
                  <c:v>Jul-11</c:v>
                </c:pt>
                <c:pt idx="691">
                  <c:v>Jul-11</c:v>
                </c:pt>
                <c:pt idx="692">
                  <c:v>Jul-11</c:v>
                </c:pt>
                <c:pt idx="693">
                  <c:v>Jul-11</c:v>
                </c:pt>
                <c:pt idx="694">
                  <c:v>Aug-11 </c:v>
                </c:pt>
                <c:pt idx="695">
                  <c:v>Aug-11 </c:v>
                </c:pt>
                <c:pt idx="696">
                  <c:v>Aug-11 </c:v>
                </c:pt>
                <c:pt idx="697">
                  <c:v>Aug-11 </c:v>
                </c:pt>
                <c:pt idx="698">
                  <c:v>Aug-11 </c:v>
                </c:pt>
                <c:pt idx="699">
                  <c:v>Aug-11 </c:v>
                </c:pt>
                <c:pt idx="700">
                  <c:v>Aug-11 </c:v>
                </c:pt>
                <c:pt idx="701">
                  <c:v>Aug-11 </c:v>
                </c:pt>
                <c:pt idx="702">
                  <c:v>Aug-11 </c:v>
                </c:pt>
                <c:pt idx="703">
                  <c:v>Aug-11 </c:v>
                </c:pt>
                <c:pt idx="704">
                  <c:v>Aug-11 </c:v>
                </c:pt>
                <c:pt idx="705">
                  <c:v>Aug-11 </c:v>
                </c:pt>
                <c:pt idx="706">
                  <c:v>Aug-11 </c:v>
                </c:pt>
                <c:pt idx="707">
                  <c:v>Aug-11 </c:v>
                </c:pt>
                <c:pt idx="708">
                  <c:v>Aug-11 </c:v>
                </c:pt>
                <c:pt idx="709">
                  <c:v>Aug-11 </c:v>
                </c:pt>
                <c:pt idx="710">
                  <c:v>Aug-11 </c:v>
                </c:pt>
                <c:pt idx="711">
                  <c:v>Aug-11 </c:v>
                </c:pt>
                <c:pt idx="712">
                  <c:v>Aug-11 </c:v>
                </c:pt>
                <c:pt idx="713">
                  <c:v>Aug-11 </c:v>
                </c:pt>
                <c:pt idx="714">
                  <c:v>Aug-11 </c:v>
                </c:pt>
                <c:pt idx="715">
                  <c:v>Aug-11 </c:v>
                </c:pt>
                <c:pt idx="716">
                  <c:v>Aug-11 </c:v>
                </c:pt>
                <c:pt idx="717">
                  <c:v>Sep-11</c:v>
                </c:pt>
                <c:pt idx="718">
                  <c:v>Sep-11</c:v>
                </c:pt>
                <c:pt idx="719">
                  <c:v>Sep-11</c:v>
                </c:pt>
                <c:pt idx="720">
                  <c:v>Sep-11</c:v>
                </c:pt>
                <c:pt idx="721">
                  <c:v>Sep-11</c:v>
                </c:pt>
                <c:pt idx="722">
                  <c:v>Sep-11</c:v>
                </c:pt>
                <c:pt idx="723">
                  <c:v>Sep-11</c:v>
                </c:pt>
                <c:pt idx="724">
                  <c:v>Sep-11</c:v>
                </c:pt>
                <c:pt idx="725">
                  <c:v>Sep-11</c:v>
                </c:pt>
                <c:pt idx="726">
                  <c:v>Sep-11</c:v>
                </c:pt>
                <c:pt idx="727">
                  <c:v>Sep-11</c:v>
                </c:pt>
                <c:pt idx="728">
                  <c:v>Sep-11</c:v>
                </c:pt>
                <c:pt idx="729">
                  <c:v>Sep-11</c:v>
                </c:pt>
                <c:pt idx="730">
                  <c:v>Sep-11</c:v>
                </c:pt>
                <c:pt idx="731">
                  <c:v>Sep-11</c:v>
                </c:pt>
                <c:pt idx="732">
                  <c:v>Sep-11</c:v>
                </c:pt>
                <c:pt idx="733">
                  <c:v>Sep-11</c:v>
                </c:pt>
                <c:pt idx="734">
                  <c:v>Sep-11</c:v>
                </c:pt>
                <c:pt idx="735">
                  <c:v>Sep-11</c:v>
                </c:pt>
                <c:pt idx="736">
                  <c:v>Sep-11</c:v>
                </c:pt>
                <c:pt idx="737">
                  <c:v>Sep-11</c:v>
                </c:pt>
                <c:pt idx="738">
                  <c:v>Sep-11</c:v>
                </c:pt>
                <c:pt idx="739">
                  <c:v>Oct-11</c:v>
                </c:pt>
                <c:pt idx="740">
                  <c:v>Oct-11</c:v>
                </c:pt>
                <c:pt idx="741">
                  <c:v>Oct-11</c:v>
                </c:pt>
                <c:pt idx="742">
                  <c:v>Oct-11</c:v>
                </c:pt>
                <c:pt idx="743">
                  <c:v>Oct-11</c:v>
                </c:pt>
                <c:pt idx="744">
                  <c:v>Oct-11</c:v>
                </c:pt>
                <c:pt idx="745">
                  <c:v>Oct-11</c:v>
                </c:pt>
                <c:pt idx="746">
                  <c:v>Oct-11</c:v>
                </c:pt>
                <c:pt idx="747">
                  <c:v>Oct-11</c:v>
                </c:pt>
                <c:pt idx="748">
                  <c:v>Oct-11</c:v>
                </c:pt>
                <c:pt idx="749">
                  <c:v>Oct-11</c:v>
                </c:pt>
                <c:pt idx="750">
                  <c:v>Oct-11</c:v>
                </c:pt>
                <c:pt idx="751">
                  <c:v>Oct-11</c:v>
                </c:pt>
                <c:pt idx="752">
                  <c:v>Oct-11</c:v>
                </c:pt>
                <c:pt idx="753">
                  <c:v>Oct-11</c:v>
                </c:pt>
                <c:pt idx="754">
                  <c:v>Oct-11</c:v>
                </c:pt>
                <c:pt idx="755">
                  <c:v>Oct-11</c:v>
                </c:pt>
                <c:pt idx="756">
                  <c:v>Oct-11</c:v>
                </c:pt>
                <c:pt idx="757">
                  <c:v>Oct-11</c:v>
                </c:pt>
                <c:pt idx="758">
                  <c:v>Oct-11</c:v>
                </c:pt>
                <c:pt idx="759">
                  <c:v>Oct-11</c:v>
                </c:pt>
                <c:pt idx="760">
                  <c:v>Nov-11 </c:v>
                </c:pt>
                <c:pt idx="761">
                  <c:v>Nov-11 </c:v>
                </c:pt>
                <c:pt idx="762">
                  <c:v>Nov-11 </c:v>
                </c:pt>
                <c:pt idx="763">
                  <c:v>Nov-11 </c:v>
                </c:pt>
                <c:pt idx="764">
                  <c:v>Nov-11 </c:v>
                </c:pt>
                <c:pt idx="765">
                  <c:v>Nov-11 </c:v>
                </c:pt>
                <c:pt idx="766">
                  <c:v>Nov-11 </c:v>
                </c:pt>
                <c:pt idx="767">
                  <c:v>Nov-11 </c:v>
                </c:pt>
                <c:pt idx="768">
                  <c:v>Nov-11 </c:v>
                </c:pt>
                <c:pt idx="769">
                  <c:v>Nov-11 </c:v>
                </c:pt>
                <c:pt idx="770">
                  <c:v>Nov-11 </c:v>
                </c:pt>
                <c:pt idx="771">
                  <c:v>Nov-11 </c:v>
                </c:pt>
                <c:pt idx="772">
                  <c:v>Nov-11 </c:v>
                </c:pt>
                <c:pt idx="773">
                  <c:v>Nov-11 </c:v>
                </c:pt>
                <c:pt idx="774">
                  <c:v>Nov-11 </c:v>
                </c:pt>
                <c:pt idx="775">
                  <c:v>Nov-11 </c:v>
                </c:pt>
                <c:pt idx="776">
                  <c:v>Nov-11 </c:v>
                </c:pt>
                <c:pt idx="777">
                  <c:v>Nov-11 </c:v>
                </c:pt>
                <c:pt idx="778">
                  <c:v>Nov-11 </c:v>
                </c:pt>
                <c:pt idx="779">
                  <c:v>Nov-11 </c:v>
                </c:pt>
                <c:pt idx="780">
                  <c:v>Nov-11 </c:v>
                </c:pt>
                <c:pt idx="781">
                  <c:v>Nov-11 </c:v>
                </c:pt>
                <c:pt idx="782">
                  <c:v>Dec-11</c:v>
                </c:pt>
                <c:pt idx="783">
                  <c:v>Dec-11</c:v>
                </c:pt>
                <c:pt idx="784">
                  <c:v>Dec-11</c:v>
                </c:pt>
                <c:pt idx="785">
                  <c:v>Dec-11</c:v>
                </c:pt>
                <c:pt idx="786">
                  <c:v>Dec-11</c:v>
                </c:pt>
                <c:pt idx="787">
                  <c:v>Dec-11</c:v>
                </c:pt>
                <c:pt idx="788">
                  <c:v>Dec-11</c:v>
                </c:pt>
                <c:pt idx="789">
                  <c:v>Dec-11</c:v>
                </c:pt>
                <c:pt idx="790">
                  <c:v>Dec-11</c:v>
                </c:pt>
                <c:pt idx="791">
                  <c:v>Dec-11</c:v>
                </c:pt>
                <c:pt idx="792">
                  <c:v>Dec-11</c:v>
                </c:pt>
                <c:pt idx="793">
                  <c:v>Dec-11</c:v>
                </c:pt>
                <c:pt idx="794">
                  <c:v>Dec-11</c:v>
                </c:pt>
                <c:pt idx="795">
                  <c:v>Dec-11</c:v>
                </c:pt>
                <c:pt idx="796">
                  <c:v>Dec-11</c:v>
                </c:pt>
                <c:pt idx="797">
                  <c:v>Dec-11</c:v>
                </c:pt>
                <c:pt idx="798">
                  <c:v>Dec-11</c:v>
                </c:pt>
                <c:pt idx="799">
                  <c:v>Dec-11</c:v>
                </c:pt>
                <c:pt idx="800">
                  <c:v>Dec-11</c:v>
                </c:pt>
                <c:pt idx="801">
                  <c:v>Dec-11</c:v>
                </c:pt>
                <c:pt idx="802">
                  <c:v>Dec-11</c:v>
                </c:pt>
                <c:pt idx="803">
                  <c:v>Jan-12 </c:v>
                </c:pt>
                <c:pt idx="804">
                  <c:v>Jan-12 </c:v>
                </c:pt>
                <c:pt idx="805">
                  <c:v>Jan-12 </c:v>
                </c:pt>
                <c:pt idx="806">
                  <c:v>Jan-12 </c:v>
                </c:pt>
                <c:pt idx="807">
                  <c:v>Jan-12 </c:v>
                </c:pt>
                <c:pt idx="808">
                  <c:v>Jan-12 </c:v>
                </c:pt>
                <c:pt idx="809">
                  <c:v>Jan-12 </c:v>
                </c:pt>
                <c:pt idx="810">
                  <c:v>Jan-12 </c:v>
                </c:pt>
                <c:pt idx="811">
                  <c:v>Jan-12 </c:v>
                </c:pt>
                <c:pt idx="812">
                  <c:v>Jan-12 </c:v>
                </c:pt>
                <c:pt idx="813">
                  <c:v>Jan-12 </c:v>
                </c:pt>
                <c:pt idx="814">
                  <c:v>Jan-12 </c:v>
                </c:pt>
                <c:pt idx="815">
                  <c:v>Jan-12 </c:v>
                </c:pt>
                <c:pt idx="816">
                  <c:v>Jan-12 </c:v>
                </c:pt>
                <c:pt idx="817">
                  <c:v>Jan-12 </c:v>
                </c:pt>
                <c:pt idx="818">
                  <c:v>Jan-12 </c:v>
                </c:pt>
                <c:pt idx="819">
                  <c:v>Jan-12 </c:v>
                </c:pt>
                <c:pt idx="820">
                  <c:v>Jan-12 </c:v>
                </c:pt>
                <c:pt idx="821">
                  <c:v>Jan-12 </c:v>
                </c:pt>
                <c:pt idx="822">
                  <c:v>Jan-12 </c:v>
                </c:pt>
                <c:pt idx="823">
                  <c:v>Jan-12 </c:v>
                </c:pt>
                <c:pt idx="824">
                  <c:v>Jan-12 </c:v>
                </c:pt>
                <c:pt idx="825">
                  <c:v>Feb-12 </c:v>
                </c:pt>
                <c:pt idx="826">
                  <c:v>Feb-12 </c:v>
                </c:pt>
                <c:pt idx="827">
                  <c:v>Feb-12 </c:v>
                </c:pt>
                <c:pt idx="828">
                  <c:v>Feb-12 </c:v>
                </c:pt>
                <c:pt idx="829">
                  <c:v>Feb-12 </c:v>
                </c:pt>
                <c:pt idx="830">
                  <c:v>Feb-12 </c:v>
                </c:pt>
                <c:pt idx="831">
                  <c:v>Feb-12 </c:v>
                </c:pt>
                <c:pt idx="832">
                  <c:v>Feb-12 </c:v>
                </c:pt>
                <c:pt idx="833">
                  <c:v>Feb-12 </c:v>
                </c:pt>
                <c:pt idx="834">
                  <c:v>Feb-12 </c:v>
                </c:pt>
                <c:pt idx="835">
                  <c:v>Feb-12 </c:v>
                </c:pt>
                <c:pt idx="836">
                  <c:v>Feb-12 </c:v>
                </c:pt>
                <c:pt idx="837">
                  <c:v>Feb-12 </c:v>
                </c:pt>
                <c:pt idx="838">
                  <c:v>Feb-12 </c:v>
                </c:pt>
                <c:pt idx="839">
                  <c:v>Feb-12 </c:v>
                </c:pt>
                <c:pt idx="840">
                  <c:v>Feb-12 </c:v>
                </c:pt>
                <c:pt idx="841">
                  <c:v>Feb-12 </c:v>
                </c:pt>
                <c:pt idx="842">
                  <c:v>Feb-12 </c:v>
                </c:pt>
                <c:pt idx="843">
                  <c:v>Feb-12 </c:v>
                </c:pt>
                <c:pt idx="844">
                  <c:v>Feb-12 </c:v>
                </c:pt>
                <c:pt idx="845">
                  <c:v>Feb-12 </c:v>
                </c:pt>
                <c:pt idx="846">
                  <c:v>Mar-12 </c:v>
                </c:pt>
                <c:pt idx="847">
                  <c:v>Mar-12 </c:v>
                </c:pt>
                <c:pt idx="848">
                  <c:v>Mar-12 </c:v>
                </c:pt>
                <c:pt idx="849">
                  <c:v>Mar-12 </c:v>
                </c:pt>
                <c:pt idx="850">
                  <c:v>Mar-12 </c:v>
                </c:pt>
                <c:pt idx="851">
                  <c:v>Mar-12 </c:v>
                </c:pt>
                <c:pt idx="852">
                  <c:v>Mar-12 </c:v>
                </c:pt>
                <c:pt idx="853">
                  <c:v>Mar-12 </c:v>
                </c:pt>
                <c:pt idx="854">
                  <c:v>Mar-12 </c:v>
                </c:pt>
                <c:pt idx="855">
                  <c:v>Mar-12 </c:v>
                </c:pt>
                <c:pt idx="856">
                  <c:v>Mar-12 </c:v>
                </c:pt>
                <c:pt idx="857">
                  <c:v>Mar-12 </c:v>
                </c:pt>
                <c:pt idx="858">
                  <c:v>Mar-12 </c:v>
                </c:pt>
                <c:pt idx="859">
                  <c:v>Mar-12 </c:v>
                </c:pt>
                <c:pt idx="860">
                  <c:v>Mar-12 </c:v>
                </c:pt>
                <c:pt idx="861">
                  <c:v>Mar-12 </c:v>
                </c:pt>
                <c:pt idx="862">
                  <c:v>Mar-12 </c:v>
                </c:pt>
                <c:pt idx="863">
                  <c:v>Mar-12 </c:v>
                </c:pt>
                <c:pt idx="864">
                  <c:v>Mar-12 </c:v>
                </c:pt>
                <c:pt idx="865">
                  <c:v>Mar-12 </c:v>
                </c:pt>
                <c:pt idx="866">
                  <c:v>Mar-12 </c:v>
                </c:pt>
                <c:pt idx="867">
                  <c:v>Mar-12 </c:v>
                </c:pt>
                <c:pt idx="868">
                  <c:v>Apr-12</c:v>
                </c:pt>
                <c:pt idx="869">
                  <c:v>Apr-12</c:v>
                </c:pt>
                <c:pt idx="870">
                  <c:v>Apr-12</c:v>
                </c:pt>
                <c:pt idx="871">
                  <c:v>Apr-12</c:v>
                </c:pt>
                <c:pt idx="872">
                  <c:v>Apr-12</c:v>
                </c:pt>
                <c:pt idx="873">
                  <c:v>Apr-12</c:v>
                </c:pt>
                <c:pt idx="874">
                  <c:v>Apr-12</c:v>
                </c:pt>
                <c:pt idx="875">
                  <c:v>Apr-12</c:v>
                </c:pt>
                <c:pt idx="876">
                  <c:v>Apr-12</c:v>
                </c:pt>
                <c:pt idx="877">
                  <c:v>Apr-12</c:v>
                </c:pt>
                <c:pt idx="878">
                  <c:v>Apr-12</c:v>
                </c:pt>
                <c:pt idx="879">
                  <c:v>Apr-12</c:v>
                </c:pt>
                <c:pt idx="880">
                  <c:v>Apr-12</c:v>
                </c:pt>
                <c:pt idx="881">
                  <c:v>Apr-12</c:v>
                </c:pt>
                <c:pt idx="882">
                  <c:v>Apr-12</c:v>
                </c:pt>
                <c:pt idx="883">
                  <c:v>Apr-12</c:v>
                </c:pt>
                <c:pt idx="884">
                  <c:v>Apr-12</c:v>
                </c:pt>
                <c:pt idx="885">
                  <c:v>Apr-12</c:v>
                </c:pt>
                <c:pt idx="886">
                  <c:v>Apr-12</c:v>
                </c:pt>
                <c:pt idx="887">
                  <c:v>May-12 </c:v>
                </c:pt>
                <c:pt idx="888">
                  <c:v>May-12 </c:v>
                </c:pt>
                <c:pt idx="889">
                  <c:v>May-12 </c:v>
                </c:pt>
                <c:pt idx="890">
                  <c:v>May-12 </c:v>
                </c:pt>
                <c:pt idx="891">
                  <c:v>May-12 </c:v>
                </c:pt>
                <c:pt idx="892">
                  <c:v>May-12 </c:v>
                </c:pt>
                <c:pt idx="893">
                  <c:v>May-12 </c:v>
                </c:pt>
                <c:pt idx="894">
                  <c:v>May-12 </c:v>
                </c:pt>
                <c:pt idx="895">
                  <c:v>May-12 </c:v>
                </c:pt>
                <c:pt idx="896">
                  <c:v>May-12 </c:v>
                </c:pt>
                <c:pt idx="897">
                  <c:v>May-12 </c:v>
                </c:pt>
                <c:pt idx="898">
                  <c:v>May-12 </c:v>
                </c:pt>
                <c:pt idx="899">
                  <c:v>May-12 </c:v>
                </c:pt>
                <c:pt idx="900">
                  <c:v>May-12 </c:v>
                </c:pt>
                <c:pt idx="901">
                  <c:v>May-12 </c:v>
                </c:pt>
                <c:pt idx="902">
                  <c:v>May-12 </c:v>
                </c:pt>
                <c:pt idx="903">
                  <c:v>May-12 </c:v>
                </c:pt>
                <c:pt idx="904">
                  <c:v>May-12 </c:v>
                </c:pt>
                <c:pt idx="905">
                  <c:v>May-12 </c:v>
                </c:pt>
                <c:pt idx="906">
                  <c:v>May-12 </c:v>
                </c:pt>
                <c:pt idx="907">
                  <c:v>May-12 </c:v>
                </c:pt>
                <c:pt idx="908">
                  <c:v>May-12 </c:v>
                </c:pt>
                <c:pt idx="909">
                  <c:v>May-12 </c:v>
                </c:pt>
                <c:pt idx="910">
                  <c:v>Jun-12 </c:v>
                </c:pt>
                <c:pt idx="911">
                  <c:v>Jun-12 </c:v>
                </c:pt>
                <c:pt idx="912">
                  <c:v>Jun-12 </c:v>
                </c:pt>
                <c:pt idx="913">
                  <c:v>Jun-12 </c:v>
                </c:pt>
                <c:pt idx="914">
                  <c:v>Jun-12 </c:v>
                </c:pt>
                <c:pt idx="915">
                  <c:v>Jun-12 </c:v>
                </c:pt>
                <c:pt idx="916">
                  <c:v>Jun-12 </c:v>
                </c:pt>
                <c:pt idx="917">
                  <c:v>Jun-12 </c:v>
                </c:pt>
                <c:pt idx="918">
                  <c:v>Jun-12 </c:v>
                </c:pt>
                <c:pt idx="919">
                  <c:v>Jun-12 </c:v>
                </c:pt>
                <c:pt idx="920">
                  <c:v>Jun-12 </c:v>
                </c:pt>
                <c:pt idx="921">
                  <c:v>Jun-12 </c:v>
                </c:pt>
                <c:pt idx="922">
                  <c:v>Jun-12 </c:v>
                </c:pt>
                <c:pt idx="923">
                  <c:v>Jun-12 </c:v>
                </c:pt>
                <c:pt idx="924">
                  <c:v>Jun-12 </c:v>
                </c:pt>
                <c:pt idx="925">
                  <c:v>Jun-12 </c:v>
                </c:pt>
                <c:pt idx="926">
                  <c:v>Jun-12 </c:v>
                </c:pt>
                <c:pt idx="927">
                  <c:v>Jun-12 </c:v>
                </c:pt>
                <c:pt idx="928">
                  <c:v>Jun-12 </c:v>
                </c:pt>
                <c:pt idx="929">
                  <c:v>Jun-12 </c:v>
                </c:pt>
                <c:pt idx="930">
                  <c:v>Jun-12 </c:v>
                </c:pt>
                <c:pt idx="931">
                  <c:v>Jul-12</c:v>
                </c:pt>
                <c:pt idx="932">
                  <c:v>Jul-12</c:v>
                </c:pt>
                <c:pt idx="933">
                  <c:v>Jul-12</c:v>
                </c:pt>
                <c:pt idx="934">
                  <c:v>Jul-12</c:v>
                </c:pt>
                <c:pt idx="935">
                  <c:v>Jul-12</c:v>
                </c:pt>
                <c:pt idx="936">
                  <c:v>Jul-12</c:v>
                </c:pt>
                <c:pt idx="937">
                  <c:v>Jul-12</c:v>
                </c:pt>
                <c:pt idx="938">
                  <c:v>Jul-12</c:v>
                </c:pt>
                <c:pt idx="939">
                  <c:v>Jul-12</c:v>
                </c:pt>
                <c:pt idx="940">
                  <c:v>Jul-12</c:v>
                </c:pt>
                <c:pt idx="941">
                  <c:v>Jul-12</c:v>
                </c:pt>
                <c:pt idx="942">
                  <c:v>Jul-12</c:v>
                </c:pt>
                <c:pt idx="943">
                  <c:v>Jul-12</c:v>
                </c:pt>
                <c:pt idx="944">
                  <c:v>Jul-12</c:v>
                </c:pt>
                <c:pt idx="945">
                  <c:v>Jul-12</c:v>
                </c:pt>
                <c:pt idx="946">
                  <c:v>Jul-12</c:v>
                </c:pt>
                <c:pt idx="947">
                  <c:v>Jul-12</c:v>
                </c:pt>
                <c:pt idx="948">
                  <c:v>Jul-12</c:v>
                </c:pt>
                <c:pt idx="949">
                  <c:v>Jul-12</c:v>
                </c:pt>
                <c:pt idx="950">
                  <c:v>Jul-12</c:v>
                </c:pt>
                <c:pt idx="951">
                  <c:v>Jul-12</c:v>
                </c:pt>
                <c:pt idx="952">
                  <c:v>Jul-12</c:v>
                </c:pt>
                <c:pt idx="953">
                  <c:v>Aug-12 </c:v>
                </c:pt>
                <c:pt idx="954">
                  <c:v>Aug-12 </c:v>
                </c:pt>
                <c:pt idx="955">
                  <c:v>Aug-12 </c:v>
                </c:pt>
                <c:pt idx="956">
                  <c:v>Aug-12 </c:v>
                </c:pt>
                <c:pt idx="957">
                  <c:v>Aug-12 </c:v>
                </c:pt>
                <c:pt idx="958">
                  <c:v>Aug-12 </c:v>
                </c:pt>
                <c:pt idx="959">
                  <c:v>Aug-12 </c:v>
                </c:pt>
                <c:pt idx="960">
                  <c:v>Aug-12 </c:v>
                </c:pt>
                <c:pt idx="961">
                  <c:v>Aug-12 </c:v>
                </c:pt>
                <c:pt idx="962">
                  <c:v>Aug-12 </c:v>
                </c:pt>
                <c:pt idx="963">
                  <c:v>Aug-12 </c:v>
                </c:pt>
                <c:pt idx="964">
                  <c:v>Aug-12 </c:v>
                </c:pt>
                <c:pt idx="965">
                  <c:v>Aug-12 </c:v>
                </c:pt>
                <c:pt idx="966">
                  <c:v>Aug-12 </c:v>
                </c:pt>
                <c:pt idx="967">
                  <c:v>Aug-12 </c:v>
                </c:pt>
                <c:pt idx="968">
                  <c:v>Aug-12 </c:v>
                </c:pt>
                <c:pt idx="969">
                  <c:v>Aug-12 </c:v>
                </c:pt>
                <c:pt idx="970">
                  <c:v>Aug-12 </c:v>
                </c:pt>
                <c:pt idx="971">
                  <c:v>Aug-12 </c:v>
                </c:pt>
                <c:pt idx="972">
                  <c:v>Aug-12 </c:v>
                </c:pt>
                <c:pt idx="973">
                  <c:v>Aug-12 </c:v>
                </c:pt>
                <c:pt idx="974">
                  <c:v>Aug-12 </c:v>
                </c:pt>
                <c:pt idx="975">
                  <c:v>Aug-12 </c:v>
                </c:pt>
                <c:pt idx="976">
                  <c:v>Sep-12</c:v>
                </c:pt>
                <c:pt idx="977">
                  <c:v>Sep-12</c:v>
                </c:pt>
                <c:pt idx="978">
                  <c:v>Sep-12</c:v>
                </c:pt>
                <c:pt idx="979">
                  <c:v>Sep-12</c:v>
                </c:pt>
                <c:pt idx="980">
                  <c:v>Sep-12</c:v>
                </c:pt>
                <c:pt idx="981">
                  <c:v>Sep-12</c:v>
                </c:pt>
                <c:pt idx="982">
                  <c:v>Sep-12</c:v>
                </c:pt>
                <c:pt idx="983">
                  <c:v>Sep-12</c:v>
                </c:pt>
                <c:pt idx="984">
                  <c:v>Sep-12</c:v>
                </c:pt>
                <c:pt idx="985">
                  <c:v>Sep-12</c:v>
                </c:pt>
                <c:pt idx="986">
                  <c:v>Sep-12</c:v>
                </c:pt>
                <c:pt idx="987">
                  <c:v>Sep-12</c:v>
                </c:pt>
                <c:pt idx="988">
                  <c:v>Sep-12</c:v>
                </c:pt>
                <c:pt idx="989">
                  <c:v>Sep-12</c:v>
                </c:pt>
                <c:pt idx="990">
                  <c:v>Sep-12</c:v>
                </c:pt>
                <c:pt idx="991">
                  <c:v>Sep-12</c:v>
                </c:pt>
                <c:pt idx="992">
                  <c:v>Sep-12</c:v>
                </c:pt>
                <c:pt idx="993">
                  <c:v>Sep-12</c:v>
                </c:pt>
                <c:pt idx="994">
                  <c:v>Sep-12</c:v>
                </c:pt>
                <c:pt idx="995">
                  <c:v>Sep-12</c:v>
                </c:pt>
                <c:pt idx="996">
                  <c:v>Oct-12</c:v>
                </c:pt>
                <c:pt idx="997">
                  <c:v>Oct-12</c:v>
                </c:pt>
                <c:pt idx="998">
                  <c:v>Oct-12</c:v>
                </c:pt>
                <c:pt idx="999">
                  <c:v>Oct-12</c:v>
                </c:pt>
                <c:pt idx="1000">
                  <c:v>Oct-12</c:v>
                </c:pt>
                <c:pt idx="1001">
                  <c:v>Oct-12</c:v>
                </c:pt>
                <c:pt idx="1002">
                  <c:v>Oct-12</c:v>
                </c:pt>
                <c:pt idx="1003">
                  <c:v>Oct-12</c:v>
                </c:pt>
                <c:pt idx="1004">
                  <c:v>Oct-12</c:v>
                </c:pt>
                <c:pt idx="1005">
                  <c:v>Oct-12</c:v>
                </c:pt>
                <c:pt idx="1006">
                  <c:v>Oct-12</c:v>
                </c:pt>
                <c:pt idx="1007">
                  <c:v>Oct-12</c:v>
                </c:pt>
                <c:pt idx="1008">
                  <c:v>Oct-12</c:v>
                </c:pt>
                <c:pt idx="1009">
                  <c:v>Oct-12</c:v>
                </c:pt>
                <c:pt idx="1010">
                  <c:v>Oct-12</c:v>
                </c:pt>
                <c:pt idx="1011">
                  <c:v>Oct-12</c:v>
                </c:pt>
                <c:pt idx="1012">
                  <c:v>Oct-12</c:v>
                </c:pt>
                <c:pt idx="1013">
                  <c:v>Oct-12</c:v>
                </c:pt>
                <c:pt idx="1014">
                  <c:v>Oct-12</c:v>
                </c:pt>
                <c:pt idx="1015">
                  <c:v>Oct-12</c:v>
                </c:pt>
                <c:pt idx="1016">
                  <c:v>Oct-12</c:v>
                </c:pt>
                <c:pt idx="1017">
                  <c:v>Oct-12</c:v>
                </c:pt>
                <c:pt idx="1018">
                  <c:v>Oct-12</c:v>
                </c:pt>
                <c:pt idx="1019">
                  <c:v>Nov-12 </c:v>
                </c:pt>
                <c:pt idx="1020">
                  <c:v>Nov-12 </c:v>
                </c:pt>
                <c:pt idx="1021">
                  <c:v>Nov-12 </c:v>
                </c:pt>
                <c:pt idx="1022">
                  <c:v>Nov-12 </c:v>
                </c:pt>
                <c:pt idx="1023">
                  <c:v>Nov-12 </c:v>
                </c:pt>
                <c:pt idx="1024">
                  <c:v>Nov-12 </c:v>
                </c:pt>
                <c:pt idx="1025">
                  <c:v>Nov-12 </c:v>
                </c:pt>
                <c:pt idx="1026">
                  <c:v>Nov-12 </c:v>
                </c:pt>
                <c:pt idx="1027">
                  <c:v>Nov-12 </c:v>
                </c:pt>
                <c:pt idx="1028">
                  <c:v>Nov-12 </c:v>
                </c:pt>
                <c:pt idx="1029">
                  <c:v>Nov-12 </c:v>
                </c:pt>
                <c:pt idx="1030">
                  <c:v>Nov-12 </c:v>
                </c:pt>
                <c:pt idx="1031">
                  <c:v>Nov-12 </c:v>
                </c:pt>
                <c:pt idx="1032">
                  <c:v>Nov-12 </c:v>
                </c:pt>
                <c:pt idx="1033">
                  <c:v>Nov-12 </c:v>
                </c:pt>
                <c:pt idx="1034">
                  <c:v>Nov-12 </c:v>
                </c:pt>
                <c:pt idx="1035">
                  <c:v>Nov-12 </c:v>
                </c:pt>
                <c:pt idx="1036">
                  <c:v>Nov-12 </c:v>
                </c:pt>
                <c:pt idx="1037">
                  <c:v>Nov-12 </c:v>
                </c:pt>
                <c:pt idx="1038">
                  <c:v>Nov-12 </c:v>
                </c:pt>
                <c:pt idx="1039">
                  <c:v>Nov-12 </c:v>
                </c:pt>
                <c:pt idx="1040">
                  <c:v>Nov-12 </c:v>
                </c:pt>
                <c:pt idx="1041">
                  <c:v>Dec-12</c:v>
                </c:pt>
                <c:pt idx="1042">
                  <c:v>Dec-12</c:v>
                </c:pt>
                <c:pt idx="1043">
                  <c:v>Dec-12</c:v>
                </c:pt>
                <c:pt idx="1044">
                  <c:v>Dec-12</c:v>
                </c:pt>
                <c:pt idx="1045">
                  <c:v>Dec-12</c:v>
                </c:pt>
                <c:pt idx="1046">
                  <c:v>Dec-12</c:v>
                </c:pt>
                <c:pt idx="1047">
                  <c:v>Dec-12</c:v>
                </c:pt>
                <c:pt idx="1048">
                  <c:v>Dec-12</c:v>
                </c:pt>
                <c:pt idx="1049">
                  <c:v>Dec-12</c:v>
                </c:pt>
                <c:pt idx="1050">
                  <c:v>Dec-12</c:v>
                </c:pt>
                <c:pt idx="1051">
                  <c:v>Dec-12</c:v>
                </c:pt>
                <c:pt idx="1052">
                  <c:v>Dec-12</c:v>
                </c:pt>
                <c:pt idx="1053">
                  <c:v>Dec-12</c:v>
                </c:pt>
                <c:pt idx="1054">
                  <c:v>Dec-12</c:v>
                </c:pt>
                <c:pt idx="1055">
                  <c:v>Dec-12</c:v>
                </c:pt>
                <c:pt idx="1056">
                  <c:v>Dec-12</c:v>
                </c:pt>
                <c:pt idx="1057">
                  <c:v>Dec-12</c:v>
                </c:pt>
                <c:pt idx="1058">
                  <c:v>Dec-12</c:v>
                </c:pt>
                <c:pt idx="1059">
                  <c:v>Dec-12</c:v>
                </c:pt>
                <c:pt idx="1060">
                  <c:v>Jan-13 </c:v>
                </c:pt>
                <c:pt idx="1061">
                  <c:v>Jan-13 </c:v>
                </c:pt>
                <c:pt idx="1062">
                  <c:v>Jan-13 </c:v>
                </c:pt>
                <c:pt idx="1063">
                  <c:v>Jan-13 </c:v>
                </c:pt>
                <c:pt idx="1064">
                  <c:v>Jan-13 </c:v>
                </c:pt>
                <c:pt idx="1065">
                  <c:v>Jan-13 </c:v>
                </c:pt>
                <c:pt idx="1066">
                  <c:v>Jan-13 </c:v>
                </c:pt>
                <c:pt idx="1067">
                  <c:v>Jan-13 </c:v>
                </c:pt>
                <c:pt idx="1068">
                  <c:v>Jan-13 </c:v>
                </c:pt>
                <c:pt idx="1069">
                  <c:v>Jan-13 </c:v>
                </c:pt>
                <c:pt idx="1070">
                  <c:v>Jan-13 </c:v>
                </c:pt>
                <c:pt idx="1071">
                  <c:v>Jan-13 </c:v>
                </c:pt>
                <c:pt idx="1072">
                  <c:v>Jan-13 </c:v>
                </c:pt>
                <c:pt idx="1073">
                  <c:v>Jan-13 </c:v>
                </c:pt>
                <c:pt idx="1074">
                  <c:v>Jan-13 </c:v>
                </c:pt>
                <c:pt idx="1075">
                  <c:v>Jan-13 </c:v>
                </c:pt>
                <c:pt idx="1076">
                  <c:v>Jan-13 </c:v>
                </c:pt>
                <c:pt idx="1077">
                  <c:v>Jan-13 </c:v>
                </c:pt>
                <c:pt idx="1078">
                  <c:v>Jan-13 </c:v>
                </c:pt>
                <c:pt idx="1079">
                  <c:v>Jan-13 </c:v>
                </c:pt>
                <c:pt idx="1080">
                  <c:v>Jan-13 </c:v>
                </c:pt>
                <c:pt idx="1081">
                  <c:v>Jan-13 </c:v>
                </c:pt>
                <c:pt idx="1082">
                  <c:v>Feb-13 </c:v>
                </c:pt>
                <c:pt idx="1083">
                  <c:v>Feb-13 </c:v>
                </c:pt>
                <c:pt idx="1084">
                  <c:v>Feb-13 </c:v>
                </c:pt>
                <c:pt idx="1085">
                  <c:v>Feb-13 </c:v>
                </c:pt>
                <c:pt idx="1086">
                  <c:v>Feb-13 </c:v>
                </c:pt>
                <c:pt idx="1087">
                  <c:v>Feb-13 </c:v>
                </c:pt>
                <c:pt idx="1088">
                  <c:v>Feb-13 </c:v>
                </c:pt>
                <c:pt idx="1089">
                  <c:v>Feb-13 </c:v>
                </c:pt>
                <c:pt idx="1090">
                  <c:v>Feb-13 </c:v>
                </c:pt>
                <c:pt idx="1091">
                  <c:v>Feb-13 </c:v>
                </c:pt>
                <c:pt idx="1092">
                  <c:v>Feb-13 </c:v>
                </c:pt>
                <c:pt idx="1093">
                  <c:v>Feb-13 </c:v>
                </c:pt>
                <c:pt idx="1094">
                  <c:v>Feb-13 </c:v>
                </c:pt>
                <c:pt idx="1095">
                  <c:v>Feb-13 </c:v>
                </c:pt>
                <c:pt idx="1096">
                  <c:v>Feb-13 </c:v>
                </c:pt>
                <c:pt idx="1097">
                  <c:v>Feb-13 </c:v>
                </c:pt>
                <c:pt idx="1098">
                  <c:v>Feb-13 </c:v>
                </c:pt>
                <c:pt idx="1099">
                  <c:v>Feb-13 </c:v>
                </c:pt>
                <c:pt idx="1100">
                  <c:v>Feb-13 </c:v>
                </c:pt>
                <c:pt idx="1101">
                  <c:v>Feb-13 </c:v>
                </c:pt>
                <c:pt idx="1102">
                  <c:v>Mar-13 </c:v>
                </c:pt>
                <c:pt idx="1103">
                  <c:v>Mar-13 </c:v>
                </c:pt>
                <c:pt idx="1104">
                  <c:v>Mar-13 </c:v>
                </c:pt>
                <c:pt idx="1105">
                  <c:v>Mar-13 </c:v>
                </c:pt>
                <c:pt idx="1106">
                  <c:v>Mar-13 </c:v>
                </c:pt>
                <c:pt idx="1107">
                  <c:v>Mar-13 </c:v>
                </c:pt>
                <c:pt idx="1108">
                  <c:v>Mar-13 </c:v>
                </c:pt>
                <c:pt idx="1109">
                  <c:v>Mar-13 </c:v>
                </c:pt>
                <c:pt idx="1110">
                  <c:v>Mar-13 </c:v>
                </c:pt>
                <c:pt idx="1111">
                  <c:v>Mar-13 </c:v>
                </c:pt>
                <c:pt idx="1112">
                  <c:v>Mar-13 </c:v>
                </c:pt>
                <c:pt idx="1113">
                  <c:v>Mar-13 </c:v>
                </c:pt>
                <c:pt idx="1114">
                  <c:v>Mar-13 </c:v>
                </c:pt>
                <c:pt idx="1115">
                  <c:v>Mar-13 </c:v>
                </c:pt>
                <c:pt idx="1116">
                  <c:v>Mar-13 </c:v>
                </c:pt>
                <c:pt idx="1117">
                  <c:v>Mar-13 </c:v>
                </c:pt>
                <c:pt idx="1118">
                  <c:v>Mar-13 </c:v>
                </c:pt>
                <c:pt idx="1119">
                  <c:v>Mar-13 </c:v>
                </c:pt>
                <c:pt idx="1120">
                  <c:v>Mar-13 </c:v>
                </c:pt>
                <c:pt idx="1121">
                  <c:v>Mar-13 </c:v>
                </c:pt>
                <c:pt idx="1122">
                  <c:v>Apr-13</c:v>
                </c:pt>
                <c:pt idx="1123">
                  <c:v>Apr-13</c:v>
                </c:pt>
                <c:pt idx="1124">
                  <c:v>Apr-13</c:v>
                </c:pt>
                <c:pt idx="1125">
                  <c:v>Apr-13</c:v>
                </c:pt>
                <c:pt idx="1126">
                  <c:v>Apr-13</c:v>
                </c:pt>
                <c:pt idx="1127">
                  <c:v>Apr-13</c:v>
                </c:pt>
                <c:pt idx="1128">
                  <c:v>Apr-13</c:v>
                </c:pt>
                <c:pt idx="1129">
                  <c:v>Apr-13</c:v>
                </c:pt>
                <c:pt idx="1130">
                  <c:v>Apr-13</c:v>
                </c:pt>
                <c:pt idx="1131">
                  <c:v>Apr-13</c:v>
                </c:pt>
                <c:pt idx="1132">
                  <c:v>Apr-13</c:v>
                </c:pt>
                <c:pt idx="1133">
                  <c:v>Apr-13</c:v>
                </c:pt>
                <c:pt idx="1134">
                  <c:v>Apr-13</c:v>
                </c:pt>
                <c:pt idx="1135">
                  <c:v>Apr-13</c:v>
                </c:pt>
                <c:pt idx="1136">
                  <c:v>Apr-13</c:v>
                </c:pt>
                <c:pt idx="1137">
                  <c:v>Apr-13</c:v>
                </c:pt>
                <c:pt idx="1138">
                  <c:v>Apr-13</c:v>
                </c:pt>
                <c:pt idx="1139">
                  <c:v>Apr-13</c:v>
                </c:pt>
                <c:pt idx="1140">
                  <c:v>Apr-13</c:v>
                </c:pt>
                <c:pt idx="1141">
                  <c:v>Apr-13</c:v>
                </c:pt>
                <c:pt idx="1142">
                  <c:v>Apr-13</c:v>
                </c:pt>
                <c:pt idx="1143">
                  <c:v>May-13 </c:v>
                </c:pt>
                <c:pt idx="1144">
                  <c:v>May-13 </c:v>
                </c:pt>
                <c:pt idx="1145">
                  <c:v>May-13 </c:v>
                </c:pt>
                <c:pt idx="1146">
                  <c:v>May-13 </c:v>
                </c:pt>
                <c:pt idx="1147">
                  <c:v>May-13 </c:v>
                </c:pt>
                <c:pt idx="1148">
                  <c:v>May-13 </c:v>
                </c:pt>
                <c:pt idx="1149">
                  <c:v>May-13 </c:v>
                </c:pt>
                <c:pt idx="1150">
                  <c:v>May-13 </c:v>
                </c:pt>
                <c:pt idx="1151">
                  <c:v>May-13 </c:v>
                </c:pt>
                <c:pt idx="1152">
                  <c:v>May-13 </c:v>
                </c:pt>
                <c:pt idx="1153">
                  <c:v>May-13 </c:v>
                </c:pt>
                <c:pt idx="1154">
                  <c:v>May-13 </c:v>
                </c:pt>
                <c:pt idx="1155">
                  <c:v>May-13 </c:v>
                </c:pt>
                <c:pt idx="1156">
                  <c:v>May-13 </c:v>
                </c:pt>
                <c:pt idx="1157">
                  <c:v>May-13 </c:v>
                </c:pt>
                <c:pt idx="1158">
                  <c:v>May-13 </c:v>
                </c:pt>
                <c:pt idx="1159">
                  <c:v>May-13 </c:v>
                </c:pt>
                <c:pt idx="1160">
                  <c:v>May-13 </c:v>
                </c:pt>
                <c:pt idx="1161">
                  <c:v>May-13 </c:v>
                </c:pt>
                <c:pt idx="1162">
                  <c:v>May-13 </c:v>
                </c:pt>
                <c:pt idx="1163">
                  <c:v>May-13 </c:v>
                </c:pt>
                <c:pt idx="1164">
                  <c:v>May-13 </c:v>
                </c:pt>
                <c:pt idx="1165">
                  <c:v>May-13 </c:v>
                </c:pt>
                <c:pt idx="1166">
                  <c:v>Jun-13 </c:v>
                </c:pt>
                <c:pt idx="1167">
                  <c:v>Jun-13 </c:v>
                </c:pt>
                <c:pt idx="1168">
                  <c:v>Jun-13 </c:v>
                </c:pt>
                <c:pt idx="1169">
                  <c:v>Jun-13 </c:v>
                </c:pt>
                <c:pt idx="1170">
                  <c:v>Jun-13 </c:v>
                </c:pt>
                <c:pt idx="1171">
                  <c:v>Jun-13 </c:v>
                </c:pt>
                <c:pt idx="1172">
                  <c:v>Jun-13 </c:v>
                </c:pt>
                <c:pt idx="1173">
                  <c:v>Jun-13 </c:v>
                </c:pt>
                <c:pt idx="1174">
                  <c:v>Jun-13 </c:v>
                </c:pt>
                <c:pt idx="1175">
                  <c:v>Jun-13 </c:v>
                </c:pt>
                <c:pt idx="1176">
                  <c:v>Jun-13 </c:v>
                </c:pt>
                <c:pt idx="1177">
                  <c:v>Jun-13 </c:v>
                </c:pt>
                <c:pt idx="1178">
                  <c:v>Jun-13 </c:v>
                </c:pt>
                <c:pt idx="1179">
                  <c:v>Jun-13 </c:v>
                </c:pt>
                <c:pt idx="1180">
                  <c:v>Jun-13 </c:v>
                </c:pt>
                <c:pt idx="1181">
                  <c:v>Jun-13 </c:v>
                </c:pt>
                <c:pt idx="1182">
                  <c:v>Jun-13 </c:v>
                </c:pt>
                <c:pt idx="1183">
                  <c:v>Jun-13 </c:v>
                </c:pt>
                <c:pt idx="1184">
                  <c:v>Jun-13 </c:v>
                </c:pt>
                <c:pt idx="1185">
                  <c:v>Jun-13 </c:v>
                </c:pt>
                <c:pt idx="1186">
                  <c:v>Jul-13</c:v>
                </c:pt>
                <c:pt idx="1187">
                  <c:v>Jul-13</c:v>
                </c:pt>
                <c:pt idx="1188">
                  <c:v>Jul-13</c:v>
                </c:pt>
                <c:pt idx="1189">
                  <c:v>Jul-13</c:v>
                </c:pt>
                <c:pt idx="1190">
                  <c:v>Jul-13</c:v>
                </c:pt>
                <c:pt idx="1191">
                  <c:v>Jul-13</c:v>
                </c:pt>
                <c:pt idx="1192">
                  <c:v>Jul-13</c:v>
                </c:pt>
                <c:pt idx="1193">
                  <c:v>Jul-13</c:v>
                </c:pt>
                <c:pt idx="1194">
                  <c:v>Jul-13</c:v>
                </c:pt>
                <c:pt idx="1195">
                  <c:v>Jul-13</c:v>
                </c:pt>
                <c:pt idx="1196">
                  <c:v>Jul-13</c:v>
                </c:pt>
                <c:pt idx="1197">
                  <c:v>Jul-13</c:v>
                </c:pt>
                <c:pt idx="1198">
                  <c:v>Jul-13</c:v>
                </c:pt>
                <c:pt idx="1199">
                  <c:v>Jul-13</c:v>
                </c:pt>
                <c:pt idx="1200">
                  <c:v>Jul-13</c:v>
                </c:pt>
                <c:pt idx="1201">
                  <c:v>Jul-13</c:v>
                </c:pt>
                <c:pt idx="1202">
                  <c:v>Jul-13</c:v>
                </c:pt>
                <c:pt idx="1203">
                  <c:v>Jul-13</c:v>
                </c:pt>
                <c:pt idx="1204">
                  <c:v>Jul-13</c:v>
                </c:pt>
                <c:pt idx="1205">
                  <c:v>Jul-13</c:v>
                </c:pt>
                <c:pt idx="1206">
                  <c:v>Jul-13</c:v>
                </c:pt>
                <c:pt idx="1207">
                  <c:v>Jul-13</c:v>
                </c:pt>
                <c:pt idx="1208">
                  <c:v>Jul-13</c:v>
                </c:pt>
                <c:pt idx="1209">
                  <c:v>Aug-13 </c:v>
                </c:pt>
                <c:pt idx="1210">
                  <c:v>Aug-13 </c:v>
                </c:pt>
                <c:pt idx="1211">
                  <c:v>Aug-13 </c:v>
                </c:pt>
                <c:pt idx="1212">
                  <c:v>Aug-13 </c:v>
                </c:pt>
                <c:pt idx="1213">
                  <c:v>Aug-13 </c:v>
                </c:pt>
                <c:pt idx="1214">
                  <c:v>Aug-13 </c:v>
                </c:pt>
                <c:pt idx="1215">
                  <c:v>Aug-13 </c:v>
                </c:pt>
                <c:pt idx="1216">
                  <c:v>Aug-13 </c:v>
                </c:pt>
                <c:pt idx="1217">
                  <c:v>Aug-13 </c:v>
                </c:pt>
                <c:pt idx="1218">
                  <c:v>Aug-13 </c:v>
                </c:pt>
                <c:pt idx="1219">
                  <c:v>Aug-13 </c:v>
                </c:pt>
                <c:pt idx="1220">
                  <c:v>Aug-13 </c:v>
                </c:pt>
                <c:pt idx="1221">
                  <c:v>Aug-13 </c:v>
                </c:pt>
                <c:pt idx="1222">
                  <c:v>Aug-13 </c:v>
                </c:pt>
                <c:pt idx="1223">
                  <c:v>Aug-13 </c:v>
                </c:pt>
                <c:pt idx="1224">
                  <c:v>Aug-13 </c:v>
                </c:pt>
                <c:pt idx="1225">
                  <c:v>Aug-13 </c:v>
                </c:pt>
                <c:pt idx="1226">
                  <c:v>Aug-13 </c:v>
                </c:pt>
                <c:pt idx="1227">
                  <c:v>Aug-13 </c:v>
                </c:pt>
                <c:pt idx="1228">
                  <c:v>Aug-13 </c:v>
                </c:pt>
                <c:pt idx="1229">
                  <c:v>Aug-13 </c:v>
                </c:pt>
                <c:pt idx="1230">
                  <c:v>Aug-13 </c:v>
                </c:pt>
                <c:pt idx="1231">
                  <c:v>Sep-13</c:v>
                </c:pt>
                <c:pt idx="1232">
                  <c:v>Sep-13</c:v>
                </c:pt>
                <c:pt idx="1233">
                  <c:v>Sep-13</c:v>
                </c:pt>
                <c:pt idx="1234">
                  <c:v>Sep-13</c:v>
                </c:pt>
                <c:pt idx="1235">
                  <c:v>Sep-13</c:v>
                </c:pt>
                <c:pt idx="1236">
                  <c:v>Sep-13</c:v>
                </c:pt>
                <c:pt idx="1237">
                  <c:v>Sep-13</c:v>
                </c:pt>
                <c:pt idx="1238">
                  <c:v>Sep-13</c:v>
                </c:pt>
                <c:pt idx="1239">
                  <c:v>Sep-13</c:v>
                </c:pt>
                <c:pt idx="1240">
                  <c:v>Sep-13</c:v>
                </c:pt>
                <c:pt idx="1241">
                  <c:v>Sep-13</c:v>
                </c:pt>
                <c:pt idx="1242">
                  <c:v>Sep-13</c:v>
                </c:pt>
                <c:pt idx="1243">
                  <c:v>Sep-13</c:v>
                </c:pt>
                <c:pt idx="1244">
                  <c:v>Sep-13</c:v>
                </c:pt>
                <c:pt idx="1245">
                  <c:v>Sep-13</c:v>
                </c:pt>
              </c:strCache>
            </c:strRef>
          </c:cat>
          <c:val>
            <c:numRef>
              <c:f>Sheet1!$D$2:$D$1247</c:f>
              <c:numCache>
                <c:formatCode>General</c:formatCode>
                <c:ptCount val="1246"/>
              </c:numCache>
            </c:numRef>
          </c:val>
        </c:ser>
        <c:marker val="1"/>
        <c:axId val="129182336"/>
        <c:axId val="129192320"/>
      </c:lineChart>
      <c:catAx>
        <c:axId val="129182336"/>
        <c:scaling>
          <c:orientation val="minMax"/>
        </c:scaling>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129192320"/>
        <c:crosses val="autoZero"/>
        <c:lblAlgn val="ctr"/>
        <c:lblOffset val="100"/>
        <c:tickLblSkip val="300"/>
        <c:tickMarkSkip val="454"/>
        <c:noMultiLvlLbl val="1"/>
      </c:catAx>
      <c:valAx>
        <c:axId val="129192320"/>
        <c:scaling>
          <c:orientation val="minMax"/>
        </c:scaling>
        <c:axPos val="l"/>
        <c:majorGridlines>
          <c:spPr>
            <a:ln w="12700" cmpd="sng">
              <a:solidFill>
                <a:schemeClr val="tx2"/>
              </a:solidFill>
              <a:prstDash val="solid"/>
            </a:ln>
          </c:spPr>
        </c:majorGridlines>
        <c:numFmt formatCode="0" sourceLinked="0"/>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129182336"/>
        <c:crosses val="autoZero"/>
        <c:crossBetween val="between"/>
      </c:valAx>
      <c:spPr>
        <a:noFill/>
        <a:ln w="25313">
          <a:noFill/>
        </a:ln>
      </c:spPr>
    </c:plotArea>
    <c:plotVisOnly val="1"/>
    <c:dispBlanksAs val="gap"/>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4672134733158355"/>
          <c:y val="5.0269935770223852E-2"/>
          <c:w val="0.39621374304604395"/>
          <c:h val="0.84222440944882093"/>
        </c:manualLayout>
      </c:layout>
      <c:barChart>
        <c:barDir val="bar"/>
        <c:grouping val="clustered"/>
        <c:ser>
          <c:idx val="0"/>
          <c:order val="0"/>
          <c:tx>
            <c:strRef>
              <c:f>Sheet0!$B$1</c:f>
              <c:strCache>
                <c:ptCount val="1"/>
                <c:pt idx="0">
                  <c:v/>
                </c:pt>
              </c:strCache>
            </c:strRef>
          </c:tx>
          <c:spPr>
            <a:solidFill>
              <a:schemeClr val="accent1"/>
            </a:solidFill>
            <a:ln>
              <a:solidFill>
                <a:schemeClr val="accent1"/>
              </a:solidFill>
            </a:ln>
          </c:spPr>
          <c:dLbls>
            <c:numFmt formatCode="0.0%" sourceLinked="0"/>
            <c:txPr>
              <a:bodyPr anchor="ctr" anchorCtr="1"/>
              <a:lstStyle/>
              <a:p>
                <a:pPr>
                  <a:defRPr sz="1000" b="0"/>
                </a:pPr>
                <a:endParaRPr lang="en-US"/>
              </a:p>
            </c:txPr>
            <c:dLblPos val="outEnd"/>
            <c:showVal val="1"/>
            <c:separator> </c:separator>
          </c:dLbls>
          <c:cat>
            <c:strRef>
              <c:f>Sheet0!$A$2:$A$11</c:f>
              <c:strCache>
                <c:ptCount val="10"/>
                <c:pt idx="0">
                  <c:v>Media</c:v>
                </c:pt>
                <c:pt idx="1">
                  <c:v>Personal &amp; Household Goods</c:v>
                </c:pt>
                <c:pt idx="2">
                  <c:v>Health Care</c:v>
                </c:pt>
                <c:pt idx="3">
                  <c:v>Industrial Goods &amp; Services</c:v>
                </c:pt>
                <c:pt idx="4">
                  <c:v>Oil &amp; Gas</c:v>
                </c:pt>
                <c:pt idx="5">
                  <c:v>Telecommunications</c:v>
                </c:pt>
                <c:pt idx="6">
                  <c:v>Banks</c:v>
                </c:pt>
                <c:pt idx="7">
                  <c:v>Insurance</c:v>
                </c:pt>
                <c:pt idx="8">
                  <c:v>Real Estate</c:v>
                </c:pt>
                <c:pt idx="9">
                  <c:v>Utilities</c:v>
                </c:pt>
              </c:strCache>
            </c:strRef>
          </c:cat>
          <c:val>
            <c:numRef>
              <c:f>Sheet0!$B$2:$B$11</c:f>
              <c:numCache>
                <c:formatCode>0.00%</c:formatCode>
                <c:ptCount val="10"/>
                <c:pt idx="0">
                  <c:v>0.0409721</c:v>
                </c:pt>
                <c:pt idx="1">
                  <c:v>0.0472866</c:v>
                </c:pt>
                <c:pt idx="2">
                  <c:v>0.0508456</c:v>
                </c:pt>
                <c:pt idx="3">
                  <c:v>0.0509256</c:v>
                </c:pt>
                <c:pt idx="4">
                  <c:v>0.0748851</c:v>
                </c:pt>
                <c:pt idx="5">
                  <c:v>0.0876818</c:v>
                </c:pt>
                <c:pt idx="6">
                  <c:v>0.1138284</c:v>
                </c:pt>
                <c:pt idx="7">
                  <c:v>0.1267599</c:v>
                </c:pt>
                <c:pt idx="8">
                  <c:v>0.1392497</c:v>
                </c:pt>
                <c:pt idx="9">
                  <c:v>0.1621231</c:v>
                </c:pt>
              </c:numCache>
            </c:numRef>
          </c:val>
        </c:ser>
        <c:axId val="140659328"/>
        <c:axId val="142350208"/>
      </c:barChart>
      <c:catAx>
        <c:axId val="140659328"/>
        <c:scaling>
          <c:orientation val="minMax"/>
        </c:scaling>
        <c:axPos val="l"/>
        <c:numFmt formatCode="0.0%" sourceLinked="0"/>
        <c:majorTickMark val="none"/>
        <c:tickLblPos val="nextTo"/>
        <c:spPr>
          <a:ln w="6350">
            <a:solidFill>
              <a:schemeClr val="tx2"/>
            </a:solidFill>
          </a:ln>
        </c:spPr>
        <c:txPr>
          <a:bodyPr anchor="ctr" anchorCtr="1"/>
          <a:lstStyle/>
          <a:p>
            <a:pPr>
              <a:defRPr sz="1000"/>
            </a:pPr>
            <a:endParaRPr lang="en-US"/>
          </a:p>
        </c:txPr>
        <c:crossAx val="142350208"/>
        <c:crosses val="autoZero"/>
        <c:auto val="1"/>
        <c:lblAlgn val="ctr"/>
        <c:lblOffset val="100"/>
      </c:catAx>
      <c:valAx>
        <c:axId val="142350208"/>
        <c:scaling>
          <c:orientation val="minMax"/>
        </c:scaling>
        <c:delete val="1"/>
        <c:axPos val="b"/>
        <c:numFmt formatCode="0.00%" sourceLinked="1"/>
        <c:tickLblPos val="none"/>
        <c:crossAx val="140659328"/>
        <c:crosses val="autoZero"/>
        <c:crossBetween val="between"/>
      </c:valAx>
    </c:plotArea>
    <c:plotVisOnly val="1"/>
    <c:dispBlanksAs val="gap"/>
  </c:chart>
  <c:spPr>
    <a:solidFill>
      <a:schemeClr val="bg1"/>
    </a:solidFill>
  </c:spPr>
  <c:txPr>
    <a:bodyPr/>
    <a:lstStyle/>
    <a:p>
      <a:pPr>
        <a:defRPr sz="18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9085575933600897"/>
          <c:y val="5.0269935770223852E-2"/>
          <c:w val="0.4748163584202838"/>
          <c:h val="0.84222440944882093"/>
        </c:manualLayout>
      </c:layout>
      <c:barChart>
        <c:barDir val="bar"/>
        <c:grouping val="clustered"/>
        <c:ser>
          <c:idx val="0"/>
          <c:order val="0"/>
          <c:tx>
            <c:strRef>
              <c:f>Sheet0!$B$1</c:f>
              <c:strCache>
                <c:ptCount val="1"/>
                <c:pt idx="0">
                  <c:v/>
                </c:pt>
              </c:strCache>
            </c:strRef>
          </c:tx>
          <c:spPr>
            <a:solidFill>
              <a:schemeClr val="accent1"/>
            </a:solidFill>
            <a:ln>
              <a:solidFill>
                <a:schemeClr val="accent1"/>
              </a:solidFill>
            </a:ln>
          </c:spPr>
          <c:dLbls>
            <c:numFmt formatCode="0.0%" sourceLinked="0"/>
            <c:txPr>
              <a:bodyPr anchor="ctr" anchorCtr="1"/>
              <a:lstStyle/>
              <a:p>
                <a:pPr>
                  <a:defRPr sz="1000" b="0"/>
                </a:pPr>
                <a:endParaRPr lang="en-US"/>
              </a:p>
            </c:txPr>
            <c:dLblPos val="outEnd"/>
            <c:showVal val="1"/>
            <c:separator> </c:separator>
          </c:dLbls>
          <c:cat>
            <c:strRef>
              <c:f>Sheet0!$A$2:$A$11</c:f>
              <c:strCache>
                <c:ptCount val="10"/>
                <c:pt idx="0">
                  <c:v>Japan</c:v>
                </c:pt>
                <c:pt idx="1">
                  <c:v>Germany</c:v>
                </c:pt>
                <c:pt idx="2">
                  <c:v>France</c:v>
                </c:pt>
                <c:pt idx="3">
                  <c:v>Switzerland</c:v>
                </c:pt>
                <c:pt idx="4">
                  <c:v>Australia</c:v>
                </c:pt>
                <c:pt idx="5">
                  <c:v>Canada</c:v>
                </c:pt>
                <c:pt idx="6">
                  <c:v>Hong Kong</c:v>
                </c:pt>
                <c:pt idx="7">
                  <c:v>Singapore</c:v>
                </c:pt>
                <c:pt idx="8">
                  <c:v>Great Britain</c:v>
                </c:pt>
                <c:pt idx="9">
                  <c:v>United States</c:v>
                </c:pt>
              </c:strCache>
            </c:strRef>
          </c:cat>
          <c:val>
            <c:numRef>
              <c:f>Sheet0!$B$2:$B$11</c:f>
              <c:numCache>
                <c:formatCode>0.00%</c:formatCode>
                <c:ptCount val="10"/>
                <c:pt idx="0">
                  <c:v>0.0155681</c:v>
                </c:pt>
                <c:pt idx="1">
                  <c:v>0.0186224</c:v>
                </c:pt>
                <c:pt idx="2">
                  <c:v>0.0362556</c:v>
                </c:pt>
                <c:pt idx="3">
                  <c:v>0.0774317</c:v>
                </c:pt>
                <c:pt idx="4">
                  <c:v>0.08167</c:v>
                </c:pt>
                <c:pt idx="5">
                  <c:v>0.0837716</c:v>
                </c:pt>
                <c:pt idx="6">
                  <c:v>0.1032387</c:v>
                </c:pt>
                <c:pt idx="7">
                  <c:v>0.1076861</c:v>
                </c:pt>
                <c:pt idx="8">
                  <c:v>0.1702689</c:v>
                </c:pt>
                <c:pt idx="9">
                  <c:v>0.2468438</c:v>
                </c:pt>
              </c:numCache>
            </c:numRef>
          </c:val>
        </c:ser>
        <c:axId val="142391936"/>
        <c:axId val="142541568"/>
      </c:barChart>
      <c:catAx>
        <c:axId val="142391936"/>
        <c:scaling>
          <c:orientation val="minMax"/>
        </c:scaling>
        <c:axPos val="l"/>
        <c:numFmt formatCode="0.0%" sourceLinked="0"/>
        <c:majorTickMark val="none"/>
        <c:tickLblPos val="nextTo"/>
        <c:spPr>
          <a:ln w="6350">
            <a:solidFill>
              <a:schemeClr val="tx2"/>
            </a:solidFill>
          </a:ln>
        </c:spPr>
        <c:txPr>
          <a:bodyPr anchor="ctr" anchorCtr="1"/>
          <a:lstStyle/>
          <a:p>
            <a:pPr>
              <a:defRPr sz="1000"/>
            </a:pPr>
            <a:endParaRPr lang="en-US"/>
          </a:p>
        </c:txPr>
        <c:crossAx val="142541568"/>
        <c:crosses val="autoZero"/>
        <c:auto val="1"/>
        <c:lblAlgn val="ctr"/>
        <c:lblOffset val="100"/>
      </c:catAx>
      <c:valAx>
        <c:axId val="142541568"/>
        <c:scaling>
          <c:orientation val="minMax"/>
        </c:scaling>
        <c:delete val="1"/>
        <c:axPos val="b"/>
        <c:numFmt formatCode="0.00%" sourceLinked="1"/>
        <c:tickLblPos val="none"/>
        <c:crossAx val="142391936"/>
        <c:crosses val="autoZero"/>
        <c:crossBetween val="between"/>
      </c:valAx>
    </c:plotArea>
    <c:plotVisOnly val="1"/>
    <c:dispBlanksAs val="gap"/>
  </c:chart>
  <c:spPr>
    <a:solidFill>
      <a:schemeClr val="bg1"/>
    </a:solidFill>
  </c:spPr>
  <c:txPr>
    <a:bodyPr/>
    <a:lstStyle/>
    <a:p>
      <a:pPr>
        <a:defRPr sz="18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4672134733158355"/>
          <c:y val="5.0269935770223852E-2"/>
          <c:w val="0.39621374304604395"/>
          <c:h val="0.84222440944882093"/>
        </c:manualLayout>
      </c:layout>
      <c:barChart>
        <c:barDir val="bar"/>
        <c:grouping val="clustered"/>
        <c:ser>
          <c:idx val="0"/>
          <c:order val="0"/>
          <c:tx>
            <c:strRef>
              <c:f>Sheet1!$B$1</c:f>
              <c:strCache>
                <c:ptCount val="1"/>
                <c:pt idx="0">
                  <c:v>Weight</c:v>
                </c:pt>
              </c:strCache>
            </c:strRef>
          </c:tx>
          <c:spPr>
            <a:solidFill>
              <a:schemeClr val="accent1"/>
            </a:solidFill>
            <a:ln>
              <a:solidFill>
                <a:schemeClr val="accent1"/>
              </a:solidFill>
            </a:ln>
          </c:spPr>
          <c:dLbls>
            <c:numFmt formatCode="0.0%" sourceLinked="0"/>
            <c:txPr>
              <a:bodyPr anchor="ctr" anchorCtr="1"/>
              <a:lstStyle/>
              <a:p>
                <a:pPr>
                  <a:defRPr sz="1000" b="0"/>
                </a:pPr>
                <a:endParaRPr lang="en-US"/>
              </a:p>
            </c:txPr>
            <c:dLblPos val="outEnd"/>
            <c:showVal val="1"/>
            <c:separator> </c:separator>
          </c:dLbls>
          <c:cat>
            <c:strRef>
              <c:f>Sheet1!$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Sheet1!$B$2:$B$11</c:f>
              <c:numCache>
                <c:formatCode>0.00%</c:formatCode>
                <c:ptCount val="10"/>
                <c:pt idx="0">
                  <c:v>5.0000000000000114E-3</c:v>
                </c:pt>
                <c:pt idx="1">
                  <c:v>1.0000000000000005E-2</c:v>
                </c:pt>
                <c:pt idx="2">
                  <c:v>0.05</c:v>
                </c:pt>
                <c:pt idx="3">
                  <c:v>8.0000000000000043E-2</c:v>
                </c:pt>
                <c:pt idx="4">
                  <c:v>0.1</c:v>
                </c:pt>
                <c:pt idx="5">
                  <c:v>0.1</c:v>
                </c:pt>
                <c:pt idx="6">
                  <c:v>0.11</c:v>
                </c:pt>
                <c:pt idx="7">
                  <c:v>0.13</c:v>
                </c:pt>
                <c:pt idx="8">
                  <c:v>0.18000000000000024</c:v>
                </c:pt>
                <c:pt idx="9">
                  <c:v>0.23500000000000001</c:v>
                </c:pt>
              </c:numCache>
            </c:numRef>
          </c:val>
        </c:ser>
        <c:axId val="143516032"/>
        <c:axId val="143517568"/>
      </c:barChart>
      <c:catAx>
        <c:axId val="143516032"/>
        <c:scaling>
          <c:orientation val="minMax"/>
        </c:scaling>
        <c:axPos val="l"/>
        <c:numFmt formatCode="0.0%" sourceLinked="0"/>
        <c:majorTickMark val="none"/>
        <c:tickLblPos val="nextTo"/>
        <c:spPr>
          <a:ln w="6350">
            <a:solidFill>
              <a:schemeClr val="tx2"/>
            </a:solidFill>
          </a:ln>
        </c:spPr>
        <c:txPr>
          <a:bodyPr anchor="ctr" anchorCtr="1"/>
          <a:lstStyle/>
          <a:p>
            <a:pPr>
              <a:defRPr sz="1000"/>
            </a:pPr>
            <a:endParaRPr lang="en-US"/>
          </a:p>
        </c:txPr>
        <c:crossAx val="143517568"/>
        <c:crosses val="autoZero"/>
        <c:auto val="1"/>
        <c:lblAlgn val="ctr"/>
        <c:lblOffset val="100"/>
      </c:catAx>
      <c:valAx>
        <c:axId val="143517568"/>
        <c:scaling>
          <c:orientation val="minMax"/>
        </c:scaling>
        <c:delete val="1"/>
        <c:axPos val="b"/>
        <c:numFmt formatCode="0.00%" sourceLinked="1"/>
        <c:tickLblPos val="none"/>
        <c:crossAx val="143516032"/>
        <c:crosses val="autoZero"/>
        <c:crossBetween val="between"/>
      </c:valAx>
    </c:plotArea>
    <c:plotVisOnly val="1"/>
    <c:dispBlanksAs val="gap"/>
  </c:chart>
  <c:spPr>
    <a:solidFill>
      <a:schemeClr val="bg1"/>
    </a:solidFill>
  </c:spPr>
  <c:txPr>
    <a:bodyPr/>
    <a:lstStyle/>
    <a:p>
      <a:pPr>
        <a:defRPr sz="18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9085575933600897"/>
          <c:y val="5.0269935770223852E-2"/>
          <c:w val="0.4748163584202838"/>
          <c:h val="0.84222440944882093"/>
        </c:manualLayout>
      </c:layout>
      <c:barChart>
        <c:barDir val="bar"/>
        <c:grouping val="clustered"/>
        <c:ser>
          <c:idx val="0"/>
          <c:order val="0"/>
          <c:tx>
            <c:strRef>
              <c:f>Sheet1!$B$1</c:f>
              <c:strCache>
                <c:ptCount val="1"/>
                <c:pt idx="0">
                  <c:v>Weight</c:v>
                </c:pt>
              </c:strCache>
            </c:strRef>
          </c:tx>
          <c:spPr>
            <a:solidFill>
              <a:schemeClr val="accent1"/>
            </a:solidFill>
            <a:ln>
              <a:solidFill>
                <a:schemeClr val="accent1"/>
              </a:solidFill>
            </a:ln>
          </c:spPr>
          <c:dLbls>
            <c:numFmt formatCode="0.0%" sourceLinked="0"/>
            <c:txPr>
              <a:bodyPr anchor="ctr" anchorCtr="1"/>
              <a:lstStyle/>
              <a:p>
                <a:pPr>
                  <a:defRPr sz="1000" b="0"/>
                </a:pPr>
                <a:endParaRPr lang="en-US"/>
              </a:p>
            </c:txPr>
            <c:dLblPos val="outEnd"/>
            <c:showVal val="1"/>
            <c:separator> </c:separator>
          </c:dLbls>
          <c:cat>
            <c:strRef>
              <c:f>Sheet1!$A$2:$A$12</c:f>
              <c:strCache>
                <c:ptCount val="11"/>
                <c:pt idx="0">
                  <c:v>Others</c:v>
                </c:pt>
                <c:pt idx="1">
                  <c:v>Country I</c:v>
                </c:pt>
                <c:pt idx="2">
                  <c:v>Country J</c:v>
                </c:pt>
                <c:pt idx="3">
                  <c:v>Country G</c:v>
                </c:pt>
                <c:pt idx="4">
                  <c:v>Country H</c:v>
                </c:pt>
                <c:pt idx="5">
                  <c:v>Country F</c:v>
                </c:pt>
                <c:pt idx="6">
                  <c:v>Country D</c:v>
                </c:pt>
                <c:pt idx="7">
                  <c:v>Country E</c:v>
                </c:pt>
                <c:pt idx="8">
                  <c:v>Country C</c:v>
                </c:pt>
                <c:pt idx="9">
                  <c:v>Country B</c:v>
                </c:pt>
                <c:pt idx="10">
                  <c:v>Country A</c:v>
                </c:pt>
              </c:strCache>
            </c:strRef>
          </c:cat>
          <c:val>
            <c:numRef>
              <c:f>Sheet1!$B$2:$B$12</c:f>
              <c:numCache>
                <c:formatCode>0.00%</c:formatCode>
                <c:ptCount val="11"/>
                <c:pt idx="0">
                  <c:v>3.0000000000000002E-2</c:v>
                </c:pt>
                <c:pt idx="1">
                  <c:v>0.05</c:v>
                </c:pt>
                <c:pt idx="2">
                  <c:v>0.05</c:v>
                </c:pt>
                <c:pt idx="3">
                  <c:v>7.0000000000000021E-2</c:v>
                </c:pt>
                <c:pt idx="4">
                  <c:v>7.0000000000000021E-2</c:v>
                </c:pt>
                <c:pt idx="5">
                  <c:v>9.0000000000000024E-2</c:v>
                </c:pt>
                <c:pt idx="6">
                  <c:v>0.1</c:v>
                </c:pt>
                <c:pt idx="7">
                  <c:v>0.1</c:v>
                </c:pt>
                <c:pt idx="8">
                  <c:v>0.12000000000000002</c:v>
                </c:pt>
                <c:pt idx="9">
                  <c:v>0.15000000000000024</c:v>
                </c:pt>
                <c:pt idx="10">
                  <c:v>0.17</c:v>
                </c:pt>
              </c:numCache>
            </c:numRef>
          </c:val>
        </c:ser>
        <c:axId val="143808000"/>
        <c:axId val="143809536"/>
      </c:barChart>
      <c:catAx>
        <c:axId val="143808000"/>
        <c:scaling>
          <c:orientation val="minMax"/>
        </c:scaling>
        <c:axPos val="l"/>
        <c:numFmt formatCode="0.0%" sourceLinked="0"/>
        <c:majorTickMark val="none"/>
        <c:tickLblPos val="nextTo"/>
        <c:spPr>
          <a:ln w="6350">
            <a:solidFill>
              <a:schemeClr val="tx2"/>
            </a:solidFill>
          </a:ln>
        </c:spPr>
        <c:txPr>
          <a:bodyPr anchor="ctr" anchorCtr="1"/>
          <a:lstStyle/>
          <a:p>
            <a:pPr>
              <a:defRPr sz="1000"/>
            </a:pPr>
            <a:endParaRPr lang="en-US"/>
          </a:p>
        </c:txPr>
        <c:crossAx val="143809536"/>
        <c:crosses val="autoZero"/>
        <c:auto val="1"/>
        <c:lblAlgn val="ctr"/>
        <c:lblOffset val="100"/>
      </c:catAx>
      <c:valAx>
        <c:axId val="143809536"/>
        <c:scaling>
          <c:orientation val="minMax"/>
        </c:scaling>
        <c:delete val="1"/>
        <c:axPos val="b"/>
        <c:numFmt formatCode="0.00%" sourceLinked="1"/>
        <c:tickLblPos val="none"/>
        <c:crossAx val="143808000"/>
        <c:crosses val="autoZero"/>
        <c:crossBetween val="between"/>
      </c:valAx>
    </c:plotArea>
    <c:plotVisOnly val="1"/>
    <c:dispBlanksAs val="gap"/>
  </c:chart>
  <c:spPr>
    <a:solidFill>
      <a:schemeClr val="bg1"/>
    </a:solidFill>
  </c:spPr>
  <c:txPr>
    <a:bodyPr/>
    <a:lstStyle/>
    <a:p>
      <a:pPr>
        <a:defRPr sz="1800"/>
      </a:pPr>
      <a:endParaRPr lang="en-US"/>
    </a:p>
  </c:txPr>
  <c:externalData r:id="rId1"/>
</c:chartSpace>
</file>

<file path=ppt/notesMasters/_rels/notesMaster1.xml.rels><?xml version="1.0" encoding="UTF-8"?>

<Relationships xmlns="http://schemas.openxmlformats.org/package/2006/relationships">
  <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01.09.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8</a:t>
            </a:fld>
            <a:endParaRPr lang="de-DE" dirty="0">
              <a:solidFill>
                <a:prstClr val="black"/>
              </a:solidFill>
            </a:endParaRPr>
          </a:p>
        </p:txBody>
      </p:sp>
    </p:spTree>
    <p:extLst>
      <p:ext uri="{BB962C8B-B14F-4D97-AF65-F5344CB8AC3E}">
        <p14:creationId xmlns="" xmlns:p14="http://schemas.microsoft.com/office/powerpoint/2010/main" val="2949369044"/>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jpeg"/>
  <Relationship Id="rId3" Type="http://schemas.openxmlformats.org/officeDocument/2006/relationships/image" Target="../media/image3.jpeg"/>
  <Relationship Id="rId4" Type="http://schemas.openxmlformats.org/officeDocument/2006/relationships/image" Target="../media/image4.jpeg"/>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5.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09.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1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5.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19.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2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2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2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2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124.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2.jpeg"/>
  <Relationship Id="rId3" Type="http://schemas.openxmlformats.org/officeDocument/2006/relationships/image" Target="../media/image3.jpeg"/>
  <Relationship Id="rId4" Type="http://schemas.openxmlformats.org/officeDocument/2006/relationships/image" Target="../media/image4.jpeg"/>
</Relationships>

</file>

<file path=ppt/slideLayouts/_rels/slideLayout125.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5.jpeg"/>
  <Relationship Id="rId3" Type="http://schemas.openxmlformats.org/officeDocument/2006/relationships/image" Target="../media/image4.jpeg"/>
  <Relationship Id="rId4" Type="http://schemas.openxmlformats.org/officeDocument/2006/relationships/image" Target="../media/image6.jpeg"/>
</Relationships>

</file>

<file path=ppt/slideLayouts/_rels/slideLayout126.xml.rels><?xml version="1.0" encoding="UTF-8"?>

<Relationships xmlns="http://schemas.openxmlformats.org/package/2006/relationships">
  <Relationship Id="rId1" Type="http://schemas.openxmlformats.org/officeDocument/2006/relationships/slideMaster" Target="../slideMasters/slideMaster3.xml"/>
  <Relationship Id="rId2" Type="http://schemas.openxmlformats.org/officeDocument/2006/relationships/image" Target="../media/image4.jpeg"/>
  <Relationship Id="rId3" Type="http://schemas.openxmlformats.org/officeDocument/2006/relationships/image" Target="../media/image7.jpeg"/>
  <Relationship Id="rId4" Type="http://schemas.openxmlformats.org/officeDocument/2006/relationships/image" Target="../media/image6.jpeg"/>
</Relationships>

</file>

<file path=ppt/slideLayouts/_rels/slideLayout12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2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2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3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5.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6.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3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4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5.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6.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4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5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5.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6.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5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6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5.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6.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6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7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4.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5.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6.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7.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8.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79.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80.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81.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82.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83.xml.rels><?xml version="1.0" encoding="UTF-8"?>

<Relationships xmlns="http://schemas.openxmlformats.org/package/2006/relationships">
  <Relationship Id="rId1" Type="http://schemas.openxmlformats.org/officeDocument/2006/relationships/slideMaster" Target="../slideMasters/slideMaster3.xml"/>
</Relationships>

</file>

<file path=ppt/slideLayouts/_rels/slideLayout19.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5.jpeg"/>
  <Relationship Id="rId3" Type="http://schemas.openxmlformats.org/officeDocument/2006/relationships/image" Target="../media/image4.jpeg"/>
  <Relationship Id="rId4" Type="http://schemas.openxmlformats.org/officeDocument/2006/relationships/image" Target="../media/image6.jpeg"/>
</Relationships>

</file>

<file path=ppt/slideLayouts/_rels/slideLayout2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9.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4.jpeg"/>
  <Relationship Id="rId3" Type="http://schemas.openxmlformats.org/officeDocument/2006/relationships/image" Target="../media/image7.jpeg"/>
  <Relationship Id="rId4" Type="http://schemas.openxmlformats.org/officeDocument/2006/relationships/image" Target="../media/image6.jpeg"/>
</Relationships>

</file>

<file path=ppt/slideLayouts/_rels/slideLayout3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9.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9.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9.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3.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jpeg"/>
  <Relationship Id="rId3" Type="http://schemas.openxmlformats.org/officeDocument/2006/relationships/image" Target="../media/image3.jpeg"/>
  <Relationship Id="rId4" Type="http://schemas.openxmlformats.org/officeDocument/2006/relationships/image" Target="../media/image4.jpeg"/>
</Relationships>

</file>

<file path=ppt/slideLayouts/_rels/slideLayout64.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5.jpeg"/>
  <Relationship Id="rId3" Type="http://schemas.openxmlformats.org/officeDocument/2006/relationships/image" Target="../media/image4.jpeg"/>
  <Relationship Id="rId4" Type="http://schemas.openxmlformats.org/officeDocument/2006/relationships/image" Target="../media/image6.jpeg"/>
</Relationships>

</file>

<file path=ppt/slideLayouts/_rels/slideLayout65.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4.jpeg"/>
  <Relationship Id="rId3" Type="http://schemas.openxmlformats.org/officeDocument/2006/relationships/image" Target="../media/image7.jpeg"/>
  <Relationship Id="rId4" Type="http://schemas.openxmlformats.org/officeDocument/2006/relationships/image" Target="../media/image6.jpeg"/>
</Relationships>

</file>

<file path=ppt/slideLayouts/_rels/slideLayout6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6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6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69.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7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5.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9.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5.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9.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90.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1.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2.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3.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4.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5.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slideLayout" Target="../slideLayouts/slideLayout17.xml"/>
  <Relationship Id="rId18" Type="http://schemas.openxmlformats.org/officeDocument/2006/relationships/slideLayout" Target="../slideLayouts/slideLayout18.xml"/>
  <Relationship Id="rId19" Type="http://schemas.openxmlformats.org/officeDocument/2006/relationships/slideLayout" Target="../slideLayouts/slideLayout19.xml"/>
  <Relationship Id="rId2" Type="http://schemas.openxmlformats.org/officeDocument/2006/relationships/slideLayout" Target="../slideLayouts/slideLayout2.xml"/>
  <Relationship Id="rId20" Type="http://schemas.openxmlformats.org/officeDocument/2006/relationships/slideLayout" Target="../slideLayouts/slideLayout20.xml"/>
  <Relationship Id="rId21" Type="http://schemas.openxmlformats.org/officeDocument/2006/relationships/slideLayout" Target="../slideLayouts/slideLayout21.xml"/>
  <Relationship Id="rId22" Type="http://schemas.openxmlformats.org/officeDocument/2006/relationships/slideLayout" Target="../slideLayouts/slideLayout22.xml"/>
  <Relationship Id="rId23" Type="http://schemas.openxmlformats.org/officeDocument/2006/relationships/slideLayout" Target="../slideLayouts/slideLayout23.xml"/>
  <Relationship Id="rId24" Type="http://schemas.openxmlformats.org/officeDocument/2006/relationships/slideLayout" Target="../slideLayouts/slideLayout24.xml"/>
  <Relationship Id="rId25" Type="http://schemas.openxmlformats.org/officeDocument/2006/relationships/slideLayout" Target="../slideLayouts/slideLayout25.xml"/>
  <Relationship Id="rId26" Type="http://schemas.openxmlformats.org/officeDocument/2006/relationships/slideLayout" Target="../slideLayouts/slideLayout26.xml"/>
  <Relationship Id="rId27" Type="http://schemas.openxmlformats.org/officeDocument/2006/relationships/slideLayout" Target="../slideLayouts/slideLayout27.xml"/>
  <Relationship Id="rId28" Type="http://schemas.openxmlformats.org/officeDocument/2006/relationships/slideLayout" Target="../slideLayouts/slideLayout28.xml"/>
  <Relationship Id="rId29" Type="http://schemas.openxmlformats.org/officeDocument/2006/relationships/slideLayout" Target="../slideLayouts/slideLayout29.xml"/>
  <Relationship Id="rId3" Type="http://schemas.openxmlformats.org/officeDocument/2006/relationships/slideLayout" Target="../slideLayouts/slideLayout3.xml"/>
  <Relationship Id="rId30" Type="http://schemas.openxmlformats.org/officeDocument/2006/relationships/slideLayout" Target="../slideLayouts/slideLayout30.xml"/>
  <Relationship Id="rId31" Type="http://schemas.openxmlformats.org/officeDocument/2006/relationships/slideLayout" Target="../slideLayouts/slideLayout31.xml"/>
  <Relationship Id="rId32" Type="http://schemas.openxmlformats.org/officeDocument/2006/relationships/slideLayout" Target="../slideLayouts/slideLayout32.xml"/>
  <Relationship Id="rId33" Type="http://schemas.openxmlformats.org/officeDocument/2006/relationships/slideLayout" Target="../slideLayouts/slideLayout33.xml"/>
  <Relationship Id="rId34" Type="http://schemas.openxmlformats.org/officeDocument/2006/relationships/slideLayout" Target="../slideLayouts/slideLayout34.xml"/>
  <Relationship Id="rId35" Type="http://schemas.openxmlformats.org/officeDocument/2006/relationships/slideLayout" Target="../slideLayouts/slideLayout35.xml"/>
  <Relationship Id="rId36" Type="http://schemas.openxmlformats.org/officeDocument/2006/relationships/slideLayout" Target="../slideLayouts/slideLayout36.xml"/>
  <Relationship Id="rId37" Type="http://schemas.openxmlformats.org/officeDocument/2006/relationships/slideLayout" Target="../slideLayouts/slideLayout37.xml"/>
  <Relationship Id="rId38" Type="http://schemas.openxmlformats.org/officeDocument/2006/relationships/slideLayout" Target="../slideLayouts/slideLayout38.xml"/>
  <Relationship Id="rId39" Type="http://schemas.openxmlformats.org/officeDocument/2006/relationships/slideLayout" Target="../slideLayouts/slideLayout39.xml"/>
  <Relationship Id="rId4" Type="http://schemas.openxmlformats.org/officeDocument/2006/relationships/slideLayout" Target="../slideLayouts/slideLayout4.xml"/>
  <Relationship Id="rId40" Type="http://schemas.openxmlformats.org/officeDocument/2006/relationships/slideLayout" Target="../slideLayouts/slideLayout40.xml"/>
  <Relationship Id="rId41" Type="http://schemas.openxmlformats.org/officeDocument/2006/relationships/slideLayout" Target="../slideLayouts/slideLayout41.xml"/>
  <Relationship Id="rId42" Type="http://schemas.openxmlformats.org/officeDocument/2006/relationships/slideLayout" Target="../slideLayouts/slideLayout42.xml"/>
  <Relationship Id="rId43" Type="http://schemas.openxmlformats.org/officeDocument/2006/relationships/slideLayout" Target="../slideLayouts/slideLayout43.xml"/>
  <Relationship Id="rId44" Type="http://schemas.openxmlformats.org/officeDocument/2006/relationships/slideLayout" Target="../slideLayouts/slideLayout44.xml"/>
  <Relationship Id="rId45" Type="http://schemas.openxmlformats.org/officeDocument/2006/relationships/slideLayout" Target="../slideLayouts/slideLayout45.xml"/>
  <Relationship Id="rId46" Type="http://schemas.openxmlformats.org/officeDocument/2006/relationships/slideLayout" Target="../slideLayouts/slideLayout46.xml"/>
  <Relationship Id="rId47" Type="http://schemas.openxmlformats.org/officeDocument/2006/relationships/slideLayout" Target="../slideLayouts/slideLayout47.xml"/>
  <Relationship Id="rId48" Type="http://schemas.openxmlformats.org/officeDocument/2006/relationships/slideLayout" Target="../slideLayouts/slideLayout48.xml"/>
  <Relationship Id="rId49" Type="http://schemas.openxmlformats.org/officeDocument/2006/relationships/slideLayout" Target="../slideLayouts/slideLayout49.xml"/>
  <Relationship Id="rId5" Type="http://schemas.openxmlformats.org/officeDocument/2006/relationships/slideLayout" Target="../slideLayouts/slideLayout5.xml"/>
  <Relationship Id="rId50" Type="http://schemas.openxmlformats.org/officeDocument/2006/relationships/slideLayout" Target="../slideLayouts/slideLayout50.xml"/>
  <Relationship Id="rId51" Type="http://schemas.openxmlformats.org/officeDocument/2006/relationships/slideLayout" Target="../slideLayouts/slideLayout51.xml"/>
  <Relationship Id="rId52" Type="http://schemas.openxmlformats.org/officeDocument/2006/relationships/slideLayout" Target="../slideLayouts/slideLayout52.xml"/>
  <Relationship Id="rId53" Type="http://schemas.openxmlformats.org/officeDocument/2006/relationships/slideLayout" Target="../slideLayouts/slideLayout53.xml"/>
  <Relationship Id="rId54" Type="http://schemas.openxmlformats.org/officeDocument/2006/relationships/slideLayout" Target="../slideLayouts/slideLayout54.xml"/>
  <Relationship Id="rId55" Type="http://schemas.openxmlformats.org/officeDocument/2006/relationships/slideLayout" Target="../slideLayouts/slideLayout55.xml"/>
  <Relationship Id="rId56" Type="http://schemas.openxmlformats.org/officeDocument/2006/relationships/slideLayout" Target="../slideLayouts/slideLayout56.xml"/>
  <Relationship Id="rId57" Type="http://schemas.openxmlformats.org/officeDocument/2006/relationships/slideLayout" Target="../slideLayouts/slideLayout57.xml"/>
  <Relationship Id="rId58" Type="http://schemas.openxmlformats.org/officeDocument/2006/relationships/slideLayout" Target="../slideLayouts/slideLayout58.xml"/>
  <Relationship Id="rId59" Type="http://schemas.openxmlformats.org/officeDocument/2006/relationships/slideLayout" Target="../slideLayouts/slideLayout59.xml"/>
  <Relationship Id="rId6" Type="http://schemas.openxmlformats.org/officeDocument/2006/relationships/slideLayout" Target="../slideLayouts/slideLayout6.xml"/>
  <Relationship Id="rId60" Type="http://schemas.openxmlformats.org/officeDocument/2006/relationships/slideLayout" Target="../slideLayouts/slideLayout60.xml"/>
  <Relationship Id="rId61" Type="http://schemas.openxmlformats.org/officeDocument/2006/relationships/slideLayout" Target="../slideLayouts/slideLayout61.xml"/>
  <Relationship Id="rId62" Type="http://schemas.openxmlformats.org/officeDocument/2006/relationships/slideLayout" Target="../slideLayouts/slideLayout62.xml"/>
  <Relationship Id="rId63" Type="http://schemas.openxmlformats.org/officeDocument/2006/relationships/theme" Target="../theme/theme1.xml"/>
  <Relationship Id="rId64" Type="http://schemas.openxmlformats.org/officeDocument/2006/relationships/image" Target="../media/image1.jpeg"/>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63.xml"/>
  <Relationship Id="rId10" Type="http://schemas.openxmlformats.org/officeDocument/2006/relationships/slideLayout" Target="../slideLayouts/slideLayout72.xml"/>
  <Relationship Id="rId11" Type="http://schemas.openxmlformats.org/officeDocument/2006/relationships/slideLayout" Target="../slideLayouts/slideLayout73.xml"/>
  <Relationship Id="rId12" Type="http://schemas.openxmlformats.org/officeDocument/2006/relationships/slideLayout" Target="../slideLayouts/slideLayout74.xml"/>
  <Relationship Id="rId13" Type="http://schemas.openxmlformats.org/officeDocument/2006/relationships/slideLayout" Target="../slideLayouts/slideLayout75.xml"/>
  <Relationship Id="rId14" Type="http://schemas.openxmlformats.org/officeDocument/2006/relationships/slideLayout" Target="../slideLayouts/slideLayout76.xml"/>
  <Relationship Id="rId15" Type="http://schemas.openxmlformats.org/officeDocument/2006/relationships/slideLayout" Target="../slideLayouts/slideLayout77.xml"/>
  <Relationship Id="rId16" Type="http://schemas.openxmlformats.org/officeDocument/2006/relationships/slideLayout" Target="../slideLayouts/slideLayout78.xml"/>
  <Relationship Id="rId17" Type="http://schemas.openxmlformats.org/officeDocument/2006/relationships/slideLayout" Target="../slideLayouts/slideLayout79.xml"/>
  <Relationship Id="rId18" Type="http://schemas.openxmlformats.org/officeDocument/2006/relationships/slideLayout" Target="../slideLayouts/slideLayout80.xml"/>
  <Relationship Id="rId19" Type="http://schemas.openxmlformats.org/officeDocument/2006/relationships/slideLayout" Target="../slideLayouts/slideLayout81.xml"/>
  <Relationship Id="rId2" Type="http://schemas.openxmlformats.org/officeDocument/2006/relationships/slideLayout" Target="../slideLayouts/slideLayout64.xml"/>
  <Relationship Id="rId20" Type="http://schemas.openxmlformats.org/officeDocument/2006/relationships/slideLayout" Target="../slideLayouts/slideLayout82.xml"/>
  <Relationship Id="rId21" Type="http://schemas.openxmlformats.org/officeDocument/2006/relationships/slideLayout" Target="../slideLayouts/slideLayout83.xml"/>
  <Relationship Id="rId22" Type="http://schemas.openxmlformats.org/officeDocument/2006/relationships/slideLayout" Target="../slideLayouts/slideLayout84.xml"/>
  <Relationship Id="rId23" Type="http://schemas.openxmlformats.org/officeDocument/2006/relationships/slideLayout" Target="../slideLayouts/slideLayout85.xml"/>
  <Relationship Id="rId24" Type="http://schemas.openxmlformats.org/officeDocument/2006/relationships/slideLayout" Target="../slideLayouts/slideLayout86.xml"/>
  <Relationship Id="rId25" Type="http://schemas.openxmlformats.org/officeDocument/2006/relationships/slideLayout" Target="../slideLayouts/slideLayout87.xml"/>
  <Relationship Id="rId26" Type="http://schemas.openxmlformats.org/officeDocument/2006/relationships/slideLayout" Target="../slideLayouts/slideLayout88.xml"/>
  <Relationship Id="rId27" Type="http://schemas.openxmlformats.org/officeDocument/2006/relationships/slideLayout" Target="../slideLayouts/slideLayout89.xml"/>
  <Relationship Id="rId28" Type="http://schemas.openxmlformats.org/officeDocument/2006/relationships/slideLayout" Target="../slideLayouts/slideLayout90.xml"/>
  <Relationship Id="rId29" Type="http://schemas.openxmlformats.org/officeDocument/2006/relationships/slideLayout" Target="../slideLayouts/slideLayout91.xml"/>
  <Relationship Id="rId3" Type="http://schemas.openxmlformats.org/officeDocument/2006/relationships/slideLayout" Target="../slideLayouts/slideLayout65.xml"/>
  <Relationship Id="rId30" Type="http://schemas.openxmlformats.org/officeDocument/2006/relationships/slideLayout" Target="../slideLayouts/slideLayout92.xml"/>
  <Relationship Id="rId31" Type="http://schemas.openxmlformats.org/officeDocument/2006/relationships/slideLayout" Target="../slideLayouts/slideLayout93.xml"/>
  <Relationship Id="rId32" Type="http://schemas.openxmlformats.org/officeDocument/2006/relationships/slideLayout" Target="../slideLayouts/slideLayout94.xml"/>
  <Relationship Id="rId33" Type="http://schemas.openxmlformats.org/officeDocument/2006/relationships/slideLayout" Target="../slideLayouts/slideLayout95.xml"/>
  <Relationship Id="rId34" Type="http://schemas.openxmlformats.org/officeDocument/2006/relationships/slideLayout" Target="../slideLayouts/slideLayout96.xml"/>
  <Relationship Id="rId35" Type="http://schemas.openxmlformats.org/officeDocument/2006/relationships/slideLayout" Target="../slideLayouts/slideLayout97.xml"/>
  <Relationship Id="rId36" Type="http://schemas.openxmlformats.org/officeDocument/2006/relationships/slideLayout" Target="../slideLayouts/slideLayout98.xml"/>
  <Relationship Id="rId37" Type="http://schemas.openxmlformats.org/officeDocument/2006/relationships/slideLayout" Target="../slideLayouts/slideLayout99.xml"/>
  <Relationship Id="rId38" Type="http://schemas.openxmlformats.org/officeDocument/2006/relationships/slideLayout" Target="../slideLayouts/slideLayout100.xml"/>
  <Relationship Id="rId39" Type="http://schemas.openxmlformats.org/officeDocument/2006/relationships/slideLayout" Target="../slideLayouts/slideLayout101.xml"/>
  <Relationship Id="rId4" Type="http://schemas.openxmlformats.org/officeDocument/2006/relationships/slideLayout" Target="../slideLayouts/slideLayout66.xml"/>
  <Relationship Id="rId40" Type="http://schemas.openxmlformats.org/officeDocument/2006/relationships/slideLayout" Target="../slideLayouts/slideLayout102.xml"/>
  <Relationship Id="rId41" Type="http://schemas.openxmlformats.org/officeDocument/2006/relationships/slideLayout" Target="../slideLayouts/slideLayout103.xml"/>
  <Relationship Id="rId42" Type="http://schemas.openxmlformats.org/officeDocument/2006/relationships/slideLayout" Target="../slideLayouts/slideLayout104.xml"/>
  <Relationship Id="rId43" Type="http://schemas.openxmlformats.org/officeDocument/2006/relationships/slideLayout" Target="../slideLayouts/slideLayout105.xml"/>
  <Relationship Id="rId44" Type="http://schemas.openxmlformats.org/officeDocument/2006/relationships/slideLayout" Target="../slideLayouts/slideLayout106.xml"/>
  <Relationship Id="rId45" Type="http://schemas.openxmlformats.org/officeDocument/2006/relationships/slideLayout" Target="../slideLayouts/slideLayout107.xml"/>
  <Relationship Id="rId46" Type="http://schemas.openxmlformats.org/officeDocument/2006/relationships/slideLayout" Target="../slideLayouts/slideLayout108.xml"/>
  <Relationship Id="rId47" Type="http://schemas.openxmlformats.org/officeDocument/2006/relationships/slideLayout" Target="../slideLayouts/slideLayout109.xml"/>
  <Relationship Id="rId48" Type="http://schemas.openxmlformats.org/officeDocument/2006/relationships/slideLayout" Target="../slideLayouts/slideLayout110.xml"/>
  <Relationship Id="rId49" Type="http://schemas.openxmlformats.org/officeDocument/2006/relationships/slideLayout" Target="../slideLayouts/slideLayout111.xml"/>
  <Relationship Id="rId5" Type="http://schemas.openxmlformats.org/officeDocument/2006/relationships/slideLayout" Target="../slideLayouts/slideLayout67.xml"/>
  <Relationship Id="rId50" Type="http://schemas.openxmlformats.org/officeDocument/2006/relationships/slideLayout" Target="../slideLayouts/slideLayout112.xml"/>
  <Relationship Id="rId51" Type="http://schemas.openxmlformats.org/officeDocument/2006/relationships/slideLayout" Target="../slideLayouts/slideLayout113.xml"/>
  <Relationship Id="rId52" Type="http://schemas.openxmlformats.org/officeDocument/2006/relationships/slideLayout" Target="../slideLayouts/slideLayout114.xml"/>
  <Relationship Id="rId53" Type="http://schemas.openxmlformats.org/officeDocument/2006/relationships/slideLayout" Target="../slideLayouts/slideLayout115.xml"/>
  <Relationship Id="rId54" Type="http://schemas.openxmlformats.org/officeDocument/2006/relationships/slideLayout" Target="../slideLayouts/slideLayout116.xml"/>
  <Relationship Id="rId55" Type="http://schemas.openxmlformats.org/officeDocument/2006/relationships/slideLayout" Target="../slideLayouts/slideLayout117.xml"/>
  <Relationship Id="rId56" Type="http://schemas.openxmlformats.org/officeDocument/2006/relationships/slideLayout" Target="../slideLayouts/slideLayout118.xml"/>
  <Relationship Id="rId57" Type="http://schemas.openxmlformats.org/officeDocument/2006/relationships/slideLayout" Target="../slideLayouts/slideLayout119.xml"/>
  <Relationship Id="rId58" Type="http://schemas.openxmlformats.org/officeDocument/2006/relationships/slideLayout" Target="../slideLayouts/slideLayout120.xml"/>
  <Relationship Id="rId59" Type="http://schemas.openxmlformats.org/officeDocument/2006/relationships/slideLayout" Target="../slideLayouts/slideLayout121.xml"/>
  <Relationship Id="rId6" Type="http://schemas.openxmlformats.org/officeDocument/2006/relationships/slideLayout" Target="../slideLayouts/slideLayout68.xml"/>
  <Relationship Id="rId60" Type="http://schemas.openxmlformats.org/officeDocument/2006/relationships/slideLayout" Target="../slideLayouts/slideLayout122.xml"/>
  <Relationship Id="rId61" Type="http://schemas.openxmlformats.org/officeDocument/2006/relationships/slideLayout" Target="../slideLayouts/slideLayout123.xml"/>
  <Relationship Id="rId62" Type="http://schemas.openxmlformats.org/officeDocument/2006/relationships/theme" Target="../theme/theme2.xml"/>
  <Relationship Id="rId63" Type="http://schemas.openxmlformats.org/officeDocument/2006/relationships/image" Target="../media/image1.jpeg"/>
  <Relationship Id="rId7" Type="http://schemas.openxmlformats.org/officeDocument/2006/relationships/slideLayout" Target="../slideLayouts/slideLayout69.xml"/>
  <Relationship Id="rId8" Type="http://schemas.openxmlformats.org/officeDocument/2006/relationships/slideLayout" Target="../slideLayouts/slideLayout70.xml"/>
  <Relationship Id="rId9" Type="http://schemas.openxmlformats.org/officeDocument/2006/relationships/slideLayout" Target="../slideLayouts/slideLayout71.xml"/>
</Relationships>

</file>

<file path=ppt/slideMasters/_rels/slideMaster3.xml.rels><?xml version="1.0" encoding="UTF-8"?>

<Relationships xmlns="http://schemas.openxmlformats.org/package/2006/relationships">
  <Relationship Id="rId1" Type="http://schemas.openxmlformats.org/officeDocument/2006/relationships/slideLayout" Target="../slideLayouts/slideLayout124.xml"/>
  <Relationship Id="rId10" Type="http://schemas.openxmlformats.org/officeDocument/2006/relationships/slideLayout" Target="../slideLayouts/slideLayout133.xml"/>
  <Relationship Id="rId11" Type="http://schemas.openxmlformats.org/officeDocument/2006/relationships/slideLayout" Target="../slideLayouts/slideLayout134.xml"/>
  <Relationship Id="rId12" Type="http://schemas.openxmlformats.org/officeDocument/2006/relationships/slideLayout" Target="../slideLayouts/slideLayout135.xml"/>
  <Relationship Id="rId13" Type="http://schemas.openxmlformats.org/officeDocument/2006/relationships/slideLayout" Target="../slideLayouts/slideLayout136.xml"/>
  <Relationship Id="rId14" Type="http://schemas.openxmlformats.org/officeDocument/2006/relationships/slideLayout" Target="../slideLayouts/slideLayout137.xml"/>
  <Relationship Id="rId15" Type="http://schemas.openxmlformats.org/officeDocument/2006/relationships/slideLayout" Target="../slideLayouts/slideLayout138.xml"/>
  <Relationship Id="rId16" Type="http://schemas.openxmlformats.org/officeDocument/2006/relationships/slideLayout" Target="../slideLayouts/slideLayout139.xml"/>
  <Relationship Id="rId17" Type="http://schemas.openxmlformats.org/officeDocument/2006/relationships/slideLayout" Target="../slideLayouts/slideLayout140.xml"/>
  <Relationship Id="rId18" Type="http://schemas.openxmlformats.org/officeDocument/2006/relationships/slideLayout" Target="../slideLayouts/slideLayout141.xml"/>
  <Relationship Id="rId19" Type="http://schemas.openxmlformats.org/officeDocument/2006/relationships/slideLayout" Target="../slideLayouts/slideLayout142.xml"/>
  <Relationship Id="rId2" Type="http://schemas.openxmlformats.org/officeDocument/2006/relationships/slideLayout" Target="../slideLayouts/slideLayout125.xml"/>
  <Relationship Id="rId20" Type="http://schemas.openxmlformats.org/officeDocument/2006/relationships/slideLayout" Target="../slideLayouts/slideLayout143.xml"/>
  <Relationship Id="rId21" Type="http://schemas.openxmlformats.org/officeDocument/2006/relationships/slideLayout" Target="../slideLayouts/slideLayout144.xml"/>
  <Relationship Id="rId22" Type="http://schemas.openxmlformats.org/officeDocument/2006/relationships/slideLayout" Target="../slideLayouts/slideLayout145.xml"/>
  <Relationship Id="rId23" Type="http://schemas.openxmlformats.org/officeDocument/2006/relationships/slideLayout" Target="../slideLayouts/slideLayout146.xml"/>
  <Relationship Id="rId24" Type="http://schemas.openxmlformats.org/officeDocument/2006/relationships/slideLayout" Target="../slideLayouts/slideLayout147.xml"/>
  <Relationship Id="rId25" Type="http://schemas.openxmlformats.org/officeDocument/2006/relationships/slideLayout" Target="../slideLayouts/slideLayout148.xml"/>
  <Relationship Id="rId26" Type="http://schemas.openxmlformats.org/officeDocument/2006/relationships/slideLayout" Target="../slideLayouts/slideLayout149.xml"/>
  <Relationship Id="rId27" Type="http://schemas.openxmlformats.org/officeDocument/2006/relationships/slideLayout" Target="../slideLayouts/slideLayout150.xml"/>
  <Relationship Id="rId28" Type="http://schemas.openxmlformats.org/officeDocument/2006/relationships/slideLayout" Target="../slideLayouts/slideLayout151.xml"/>
  <Relationship Id="rId29" Type="http://schemas.openxmlformats.org/officeDocument/2006/relationships/slideLayout" Target="../slideLayouts/slideLayout152.xml"/>
  <Relationship Id="rId3" Type="http://schemas.openxmlformats.org/officeDocument/2006/relationships/slideLayout" Target="../slideLayouts/slideLayout126.xml"/>
  <Relationship Id="rId30" Type="http://schemas.openxmlformats.org/officeDocument/2006/relationships/slideLayout" Target="../slideLayouts/slideLayout153.xml"/>
  <Relationship Id="rId31" Type="http://schemas.openxmlformats.org/officeDocument/2006/relationships/slideLayout" Target="../slideLayouts/slideLayout154.xml"/>
  <Relationship Id="rId32" Type="http://schemas.openxmlformats.org/officeDocument/2006/relationships/slideLayout" Target="../slideLayouts/slideLayout155.xml"/>
  <Relationship Id="rId33" Type="http://schemas.openxmlformats.org/officeDocument/2006/relationships/slideLayout" Target="../slideLayouts/slideLayout156.xml"/>
  <Relationship Id="rId34" Type="http://schemas.openxmlformats.org/officeDocument/2006/relationships/slideLayout" Target="../slideLayouts/slideLayout157.xml"/>
  <Relationship Id="rId35" Type="http://schemas.openxmlformats.org/officeDocument/2006/relationships/slideLayout" Target="../slideLayouts/slideLayout158.xml"/>
  <Relationship Id="rId36" Type="http://schemas.openxmlformats.org/officeDocument/2006/relationships/slideLayout" Target="../slideLayouts/slideLayout159.xml"/>
  <Relationship Id="rId37" Type="http://schemas.openxmlformats.org/officeDocument/2006/relationships/slideLayout" Target="../slideLayouts/slideLayout160.xml"/>
  <Relationship Id="rId38" Type="http://schemas.openxmlformats.org/officeDocument/2006/relationships/slideLayout" Target="../slideLayouts/slideLayout161.xml"/>
  <Relationship Id="rId39" Type="http://schemas.openxmlformats.org/officeDocument/2006/relationships/slideLayout" Target="../slideLayouts/slideLayout162.xml"/>
  <Relationship Id="rId4" Type="http://schemas.openxmlformats.org/officeDocument/2006/relationships/slideLayout" Target="../slideLayouts/slideLayout127.xml"/>
  <Relationship Id="rId40" Type="http://schemas.openxmlformats.org/officeDocument/2006/relationships/slideLayout" Target="../slideLayouts/slideLayout163.xml"/>
  <Relationship Id="rId41" Type="http://schemas.openxmlformats.org/officeDocument/2006/relationships/slideLayout" Target="../slideLayouts/slideLayout164.xml"/>
  <Relationship Id="rId42" Type="http://schemas.openxmlformats.org/officeDocument/2006/relationships/slideLayout" Target="../slideLayouts/slideLayout165.xml"/>
  <Relationship Id="rId43" Type="http://schemas.openxmlformats.org/officeDocument/2006/relationships/slideLayout" Target="../slideLayouts/slideLayout166.xml"/>
  <Relationship Id="rId44" Type="http://schemas.openxmlformats.org/officeDocument/2006/relationships/slideLayout" Target="../slideLayouts/slideLayout167.xml"/>
  <Relationship Id="rId45" Type="http://schemas.openxmlformats.org/officeDocument/2006/relationships/slideLayout" Target="../slideLayouts/slideLayout168.xml"/>
  <Relationship Id="rId46" Type="http://schemas.openxmlformats.org/officeDocument/2006/relationships/slideLayout" Target="../slideLayouts/slideLayout169.xml"/>
  <Relationship Id="rId47" Type="http://schemas.openxmlformats.org/officeDocument/2006/relationships/slideLayout" Target="../slideLayouts/slideLayout170.xml"/>
  <Relationship Id="rId48" Type="http://schemas.openxmlformats.org/officeDocument/2006/relationships/slideLayout" Target="../slideLayouts/slideLayout171.xml"/>
  <Relationship Id="rId49" Type="http://schemas.openxmlformats.org/officeDocument/2006/relationships/slideLayout" Target="../slideLayouts/slideLayout172.xml"/>
  <Relationship Id="rId5" Type="http://schemas.openxmlformats.org/officeDocument/2006/relationships/slideLayout" Target="../slideLayouts/slideLayout128.xml"/>
  <Relationship Id="rId50" Type="http://schemas.openxmlformats.org/officeDocument/2006/relationships/slideLayout" Target="../slideLayouts/slideLayout173.xml"/>
  <Relationship Id="rId51" Type="http://schemas.openxmlformats.org/officeDocument/2006/relationships/slideLayout" Target="../slideLayouts/slideLayout174.xml"/>
  <Relationship Id="rId52" Type="http://schemas.openxmlformats.org/officeDocument/2006/relationships/slideLayout" Target="../slideLayouts/slideLayout175.xml"/>
  <Relationship Id="rId53" Type="http://schemas.openxmlformats.org/officeDocument/2006/relationships/slideLayout" Target="../slideLayouts/slideLayout176.xml"/>
  <Relationship Id="rId54" Type="http://schemas.openxmlformats.org/officeDocument/2006/relationships/slideLayout" Target="../slideLayouts/slideLayout177.xml"/>
  <Relationship Id="rId55" Type="http://schemas.openxmlformats.org/officeDocument/2006/relationships/slideLayout" Target="../slideLayouts/slideLayout178.xml"/>
  <Relationship Id="rId56" Type="http://schemas.openxmlformats.org/officeDocument/2006/relationships/slideLayout" Target="../slideLayouts/slideLayout179.xml"/>
  <Relationship Id="rId57" Type="http://schemas.openxmlformats.org/officeDocument/2006/relationships/slideLayout" Target="../slideLayouts/slideLayout180.xml"/>
  <Relationship Id="rId58" Type="http://schemas.openxmlformats.org/officeDocument/2006/relationships/slideLayout" Target="../slideLayouts/slideLayout181.xml"/>
  <Relationship Id="rId59" Type="http://schemas.openxmlformats.org/officeDocument/2006/relationships/slideLayout" Target="../slideLayouts/slideLayout182.xml"/>
  <Relationship Id="rId6" Type="http://schemas.openxmlformats.org/officeDocument/2006/relationships/slideLayout" Target="../slideLayouts/slideLayout129.xml"/>
  <Relationship Id="rId60" Type="http://schemas.openxmlformats.org/officeDocument/2006/relationships/slideLayout" Target="../slideLayouts/slideLayout183.xml"/>
  <Relationship Id="rId61" Type="http://schemas.openxmlformats.org/officeDocument/2006/relationships/theme" Target="../theme/theme3.xml"/>
  <Relationship Id="rId62" Type="http://schemas.openxmlformats.org/officeDocument/2006/relationships/image" Target="../media/image1.jpeg"/>
  <Relationship Id="rId7" Type="http://schemas.openxmlformats.org/officeDocument/2006/relationships/slideLayout" Target="../slideLayouts/slideLayout130.xml"/>
  <Relationship Id="rId8" Type="http://schemas.openxmlformats.org/officeDocument/2006/relationships/slideLayout" Target="../slideLayouts/slideLayout131.xml"/>
  <Relationship Id="rId9" Type="http://schemas.openxmlformats.org/officeDocument/2006/relationships/slideLayout" Target="../slideLayouts/slideLayout132.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tags" Target="../tags/tag1.xml"/>
  <Relationship Id="rId2" Type="http://schemas.openxmlformats.org/officeDocument/2006/relationships/slideLayout" Target="../slideLayouts/slideLayout67.xml"/>
  <Relationship Id="rId3" Type="http://schemas.openxmlformats.org/officeDocument/2006/relationships/chart" Target="../charts/chart1.xml"/>
</Relationships>

</file>

<file path=ppt/slides/_rels/slide3.xml.rels><?xml version="1.0" encoding="UTF-8"?>

<Relationships xmlns="http://schemas.openxmlformats.org/package/2006/relationships">
  <Relationship Id="rId1" Type="http://schemas.openxmlformats.org/officeDocument/2006/relationships/tags" Target="../tags/tag2.xml"/>
  <Relationship Id="rId2" Type="http://schemas.openxmlformats.org/officeDocument/2006/relationships/tags" Target="../tags/tag3.xml"/>
  <Relationship Id="rId3" Type="http://schemas.openxmlformats.org/officeDocument/2006/relationships/tags" Target="../tags/tag4.xml"/>
  <Relationship Id="rId4" Type="http://schemas.openxmlformats.org/officeDocument/2006/relationships/slideLayout" Target="../slideLayouts/slideLayout67.xml"/>
</Relationships>

</file>

<file path=ppt/slides/_rels/slide6.xml.rels><?xml version="1.0" encoding="UTF-8"?>

<Relationships xmlns="http://schemas.openxmlformats.org/package/2006/relationships">
  <Relationship Id="rId1" Type="http://schemas.openxmlformats.org/officeDocument/2006/relationships/slideLayout" Target="../slideLayouts/slideLayout88.xml"/>
  <Relationship Id="rId2" Type="http://schemas.openxmlformats.org/officeDocument/2006/relationships/notesSlide" Target="../notesSlides/notesSlide1.xml"/>
  <Relationship Id="rId3" Type="http://schemas.openxmlformats.org/officeDocument/2006/relationships/chart" Target="../charts/chart3.xml"/>
  <Relationship Id="rId4" Type="http://schemas.openxmlformats.org/officeDocument/2006/relationships/chart" Target="../charts/chart4.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88.xml"/>
  <Relationship Id="rId2" Type="http://schemas.openxmlformats.org/officeDocument/2006/relationships/notesSlide" Target="../notesSlides/notesSlide2.xml"/>
  <Relationship Id="rId3" Type="http://schemas.openxmlformats.org/officeDocument/2006/relationships/chart" Target="../charts/chart5.xml"/>
</Relationships>

</file>

<file path=ppt/slides/_rels/slide8.xml.rels><?xml version="1.0" encoding="UTF-8"?>

<Relationships xmlns="http://schemas.openxmlformats.org/package/2006/relationships">
  <Relationship Id="rId1" Type="http://schemas.openxmlformats.org/officeDocument/2006/relationships/slideLayout" Target="../slideLayouts/slideLayout88.xml"/>
  <Relationship Id="rId2" Type="http://schemas.openxmlformats.org/officeDocument/2006/relationships/notesSlide" Target="../notesSlides/notesSlide3.xml"/>
  <Relationship Id="rId3" Type="http://schemas.openxmlformats.org/officeDocument/2006/relationships/chart" Target="../charts/chart6.xml"/>
</Relationships>

</file>

<file path=ppt/slides/_rels/slide9.xml.rels><?xml version="1.0" encoding="UTF-8"?>

<Relationships xmlns="http://schemas.openxmlformats.org/package/2006/relationships">
  <Relationship Id="rId1" Type="http://schemas.openxmlformats.org/officeDocument/2006/relationships/tags" Target="../tags/tag8.xml"/>
  <Relationship Id="rId2" Type="http://schemas.openxmlformats.org/officeDocument/2006/relationships/slideLayout" Target="../slideLayouts/slideLayout67.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sp>
        <p:nvSpPr>
          <p:cNvPr id="85" name="Rectangle 2"/>
          <p:cNvSpPr>
            <a:spLocks noChangeArrowheads="1"/>
          </p:cNvSpPr>
          <p:nvPr/>
        </p:nvSpPr>
        <p:spPr bwMode="auto">
          <a:xfrm>
            <a:off x="365919"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57312" y="1837944"/>
            <a:ext cx="4362449"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657985" y="6334125"/>
            <a:ext cx="7680960" cy="461665"/>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Aug. 31, 2015. Annualized returns and annualized volatility (standard deviation) figures are used
2) Euribor1m used as riskless asset to calculate Sharpe ratio
3) Computed for the period Aug. 30, 2013 to Aug. 31, 2015</a:t>
            </a:r>
          </a:p>
        </p:txBody>
      </p:sp>
      <p:sp>
        <p:nvSpPr>
          <p:cNvPr id="14"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STOXX® Global Select Dividend 100 
(USD Gross Return) </a:t>
            </a:r>
          </a:p>
        </p:txBody>
      </p:sp>
      <p:sp>
        <p:nvSpPr>
          <p:cNvPr id="13" name="TextBox 12"/>
          <p:cNvSpPr txBox="1"/>
          <p:nvPr/>
        </p:nvSpPr>
        <p:spPr>
          <a:xfrm>
            <a:off x="1137285" y="1863070"/>
            <a:ext cx="3368040" cy="233910"/>
          </a:xfrm>
          <a:prstGeom prst="rect">
            <a:avLst/>
          </a:prstGeom>
          <a:noFill/>
        </p:spPr>
        <p:txBody>
          <a:bodyPr wrap="square" lIns="0" tIns="0" rIns="0" bIns="0" rtlCol="0">
            <a:spAutoFit/>
          </a:bodyPr>
          <a:lstStyle/>
          <a:p>
            <a:r>
              <a:rPr lang="en-US" sz="1600" b="true">
                <a:solidFill>
                  <a:srgbClr val="FFFFFF"/>
                </a:solidFill>
              </a:rPr>
              <a:t>2y</a:t>
            </a:r>
          </a:p>
        </p:txBody>
      </p:sp>
      <p:graphicFrame>
        <p:nvGraphicFramePr>
          <p:cNvPr id="15" name="Group 62"/>
          <p:cNvGraphicFramePr>
            <a:graphicFrameLocks noGrp="1"/>
          </p:cNvGraphicFramePr>
          <p:nvPr>
            <p:custDataLst>
              <p:tags r:id="rId1"/>
            </p:custDataLst>
            <p:extLst>
              <p:ext uri="{D42A27DB-BD31-4B8C-83A1-F6EECF244321}">
                <p14:modId xmlns:p14="http://schemas.microsoft.com/office/powerpoint/2010/main" val="3699296074"/>
              </p:ext>
            </p:extLst>
          </p:nvPr>
        </p:nvGraphicFramePr>
        <p:xfrm>
          <a:off x="5162551" y="2254398"/>
          <a:ext cx="4370831" cy="3092377"/>
        </p:xfrm>
        <a:graphic>
          <a:graphicData uri="http://schemas.openxmlformats.org/drawingml/2006/table">
            <a:tbl>
              <a:tblPr>
                <a:tableStyleId>{616DA210-FB5B-4158-B5E0-FEB733F419BA}</a:tableStyleId>
              </a:tblPr>
              <a:tblGrid>
                <a:gridCol w="1548003"/>
                <a:gridCol w="1411414"/>
                <a:gridCol w="1411414"/>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D80F5F"/>
                          </a:solidFill>
                        </a:rPr>
                        <a:t>STOXX® Global Select Dividend 1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14044E"/>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2.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3.1%</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5.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1.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0.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1.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9.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0.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1</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2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5.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9%</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6" name="Object 9"/>
          <p:cNvGraphicFramePr>
            <a:graphicFrameLocks/>
          </p:cNvGraphicFramePr>
          <p:nvPr>
            <p:extLst>
              <p:ext uri="{D42A27DB-BD31-4B8C-83A1-F6EECF244321}">
                <p14:modId xmlns:p14="http://schemas.microsoft.com/office/powerpoint/2010/main" val="4075984458"/>
              </p:ext>
            </p:extLst>
          </p:nvPr>
        </p:nvGraphicFramePr>
        <p:xfrm>
          <a:off x="364300" y="2225820"/>
          <a:ext cx="4361688" cy="3200400"/>
        </p:xfrm>
        <a:graphic>
          <a:graphicData uri="http://schemas.openxmlformats.org/drawingml/2006/chart">
            <c:chart xmlns:c="http://schemas.openxmlformats.org/drawingml/2006/chart" r:id="rId3"/>
          </a:graphicData>
        </a:graphic>
      </p:graphicFrame>
      <p:sp>
        <p:nvSpPr>
          <p:cNvPr id="12" name="Rectangle 6"/>
          <p:cNvSpPr>
            <a:spLocks noChangeArrowheads="1"/>
          </p:cNvSpPr>
          <p:nvPr/>
        </p:nvSpPr>
        <p:spPr bwMode="auto">
          <a:xfrm>
            <a:off x="7694284" y="5868772"/>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a:t>STOXX® Global 1800 
(USD Gross Return) </a:t>
            </a:r>
          </a:p>
        </p:txBody>
      </p:sp>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11" name="Rectangle 2"/>
          <p:cNvSpPr>
            <a:spLocks noChangeArrowheads="1"/>
          </p:cNvSpPr>
          <p:nvPr/>
        </p:nvSpPr>
        <p:spPr bwMode="auto">
          <a:xfrm>
            <a:off x="515401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sp>
        <p:nvSpPr>
          <p:cNvPr id="15" name="Text Box 150"/>
          <p:cNvSpPr txBox="1">
            <a:spLocks noChangeArrowheads="1"/>
          </p:cNvSpPr>
          <p:nvPr/>
        </p:nvSpPr>
        <p:spPr bwMode="auto">
          <a:xfrm>
            <a:off x="1656398" y="6334125"/>
            <a:ext cx="7680960" cy="461665"/>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Aug. 31, 2015 (2) Gross dividend yield is calculated as Gross return index return minus price index return
3) Including negative values. Trailing period is 12 months
4) Annualized turnover last four quarterly reviews</a:t>
            </a:r>
          </a:p>
        </p:txBody>
      </p:sp>
      <p:sp>
        <p:nvSpPr>
          <p:cNvPr id="17" name="Rectangle 6"/>
          <p:cNvSpPr>
            <a:spLocks noChangeArrowheads="1"/>
          </p:cNvSpPr>
          <p:nvPr/>
        </p:nvSpPr>
        <p:spPr bwMode="auto">
          <a:xfrm>
            <a:off x="369717" y="5859007"/>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STOXX® Global Select Dividend 100 
(USD Gross Return) </a:t>
            </a:r>
          </a:p>
        </p:txBody>
      </p:sp>
      <p:graphicFrame>
        <p:nvGraphicFramePr>
          <p:cNvPr id="19" name="Group 62"/>
          <p:cNvGraphicFramePr>
            <a:graphicFrameLocks noGrp="1"/>
          </p:cNvGraphicFramePr>
          <p:nvPr>
            <p:custDataLst>
              <p:tags r:id="rId1"/>
            </p:custDataLst>
            <p:extLst>
              <p:ext uri="{D42A27DB-BD31-4B8C-83A1-F6EECF244321}">
                <p14:modId xmlns:p14="http://schemas.microsoft.com/office/powerpoint/2010/main" val="3894525818"/>
              </p:ext>
            </p:extLst>
          </p:nvPr>
        </p:nvGraphicFramePr>
        <p:xfrm>
          <a:off x="358617" y="2225820"/>
          <a:ext cx="4370833" cy="2505387"/>
        </p:xfrm>
        <a:graphic>
          <a:graphicData uri="http://schemas.openxmlformats.org/drawingml/2006/table">
            <a:tbl>
              <a:tblPr>
                <a:tableStyleId>{616DA210-FB5B-4158-B5E0-FEB733F419BA}</a:tableStyleId>
              </a:tblPr>
              <a:tblGrid>
                <a:gridCol w="1821357"/>
                <a:gridCol w="1274738"/>
                <a:gridCol w="1274738"/>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D80F5F"/>
                          </a:solidFill>
                        </a:rPr>
                        <a:t>STOXX® Global Select Dividend 1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14044E"/>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Gross dividend yield</a:t>
                      </a:r>
                      <a:r>
                        <a:rPr lang="en-US" baseline="30000" sz="1000"/>
                        <a:t>2)</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4.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3%</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0.7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9.5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42</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6.0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27</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4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98</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32</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50</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16</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3" name="Group 62"/>
          <p:cNvGraphicFramePr>
            <a:graphicFrameLocks noGrp="1"/>
          </p:cNvGraphicFramePr>
          <p:nvPr>
            <p:custDataLst>
              <p:tags r:id="rId2"/>
            </p:custDataLst>
            <p:extLst>
              <p:ext uri="{D42A27DB-BD31-4B8C-83A1-F6EECF244321}">
                <p14:modId xmlns:p14="http://schemas.microsoft.com/office/powerpoint/2010/main" val="3715128832"/>
              </p:ext>
            </p:extLst>
          </p:nvPr>
        </p:nvGraphicFramePr>
        <p:xfrm>
          <a:off x="5161595" y="2254395"/>
          <a:ext cx="4369882" cy="1535883"/>
        </p:xfrm>
        <a:graphic>
          <a:graphicData uri="http://schemas.openxmlformats.org/drawingml/2006/table">
            <a:tbl>
              <a:tblPr>
                <a:tableStyleId>{616DA210-FB5B-4158-B5E0-FEB733F419BA}</a:tableStyleId>
              </a:tblPr>
              <a:tblGrid>
                <a:gridCol w="1553530"/>
                <a:gridCol w="1408176"/>
                <a:gridCol w="1408176"/>
              </a:tblGrid>
              <a:tr h="46975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D80F5F"/>
                          </a:solidFill>
                        </a:rPr>
                        <a:t>STOXX® Global Select Dividend 100 </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14044E"/>
                          </a:solidFill>
                        </a:rPr>
                        <a:t>STOXX® Global 1800 </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00</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1800</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l"/>
                      <a:r>
                        <a:rPr lang="en-US" sz="1000">
                          <a:solidFill>
                            <a:srgbClr val="000000"/>
                          </a:solidFill>
                        </a:rPr>
                        <a:t>Market cap (wgt. avg.) in USD bn</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962.59</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32220079.41</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19.12%</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2.94%</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5" name="Group 62"/>
          <p:cNvGraphicFramePr>
            <a:graphicFrameLocks noGrp="1"/>
          </p:cNvGraphicFramePr>
          <p:nvPr>
            <p:custDataLst>
              <p:tags r:id="rId3"/>
            </p:custDataLst>
            <p:extLst>
              <p:ext uri="{D42A27DB-BD31-4B8C-83A1-F6EECF244321}">
                <p14:modId xmlns:p14="http://schemas.microsoft.com/office/powerpoint/2010/main" val="2938725923"/>
              </p:ext>
            </p:extLst>
          </p:nvPr>
        </p:nvGraphicFramePr>
        <p:xfrm>
          <a:off x="5168740" y="4010096"/>
          <a:ext cx="4365786" cy="1477695"/>
        </p:xfrm>
        <a:graphic>
          <a:graphicData uri="http://schemas.openxmlformats.org/drawingml/2006/table">
            <a:tbl>
              <a:tblPr>
                <a:tableStyleId>{616DA210-FB5B-4158-B5E0-FEB733F419BA}</a:tableStyleId>
              </a:tblPr>
              <a:tblGrid>
                <a:gridCol w="2956085"/>
                <a:gridCol w="140970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b="true">
                          <a:solidFill>
                            <a:srgbClr val="14044E"/>
                          </a:solidFill>
                        </a:rPr>
                        <a:t>vs STOXX® Global 18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000">
                          <a:solidFill>
                            <a:srgbClr val="000000"/>
                          </a:solidFill>
                        </a:rPr>
                        <a:t>0.8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05</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solidFill>
                            <a:srgbClr val="000000"/>
                          </a:solidFill>
                        </a:rPr>
                        <a:t>0.77</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Rectangle 6"/>
          <p:cNvSpPr>
            <a:spLocks noChangeArrowheads="1"/>
          </p:cNvSpPr>
          <p:nvPr/>
        </p:nvSpPr>
        <p:spPr bwMode="auto">
          <a:xfrm>
            <a:off x="7694284" y="5868772"/>
            <a:ext cx="233850" cy="144463"/>
          </a:xfrm>
          <a:prstGeom prst="rect">
            <a:avLst/>
          </a:prstGeom>
          <a:solidFill>
            <a:schemeClr val="accent2"/>
          </a:solidFill>
          <a:ln w="9525" algn="ctr">
            <a:noFill/>
            <a:miter lim="800000"/>
            <a:headEnd/>
            <a:tailEnd/>
          </a:ln>
        </p:spPr>
        <p:txBody>
          <a:bodyPr wrap="none" lIns="365760" tIns="0" rIns="0" bIns="0" anchor="ctr"/>
          <a:lstStyle/>
          <a:p>
            <a:r>
              <a:rPr lang="en-US" sz="1000"/>
              <a:t>STOXX® Global 1800 
(USD Gross Return) </a:t>
            </a:r>
          </a:p>
        </p:txBody>
      </p:sp>
    </p:spTree>
    <p:extLst>
      <p:ext uri="{BB962C8B-B14F-4D97-AF65-F5344CB8AC3E}">
        <p14:creationId xmlns:p14="http://schemas.microsoft.com/office/powerpoint/2010/main" val="34159257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656398" y="6331744"/>
            <a:ext cx="7680960" cy="146194"/>
          </a:xfrm>
          <a:prstGeom prst="rect">
            <a:avLst/>
          </a:prstGeom>
          <a:noFill/>
          <a:ln w="9525">
            <a:noFill/>
            <a:miter lim="800000"/>
            <a:headEnd/>
            <a:tailEnd/>
          </a:ln>
        </p:spPr>
        <p:txBody>
          <a:bodyPr lIns="0" tIns="0" rIns="0" bIns="0" anchor="t" anchorCtr="0">
            <a:spAutoFit/>
          </a:bodyPr>
          <a:lstStyle/>
          <a:p>
            <a:r>
              <a:rPr lang="en-US" sz="1000">
                <a:solidFill>
                  <a:srgbClr val="AFAFAF"/>
                </a:solidFill>
              </a:rPr>
              <a:t>1) STOXX data as of Aug. 31, 2015</a:t>
            </a:r>
          </a:p>
        </p:txBody>
      </p:sp>
      <p:sp>
        <p:nvSpPr>
          <p:cNvPr id="10" name="Title 1"/>
          <p:cNvSpPr>
            <a:spLocks noGrp="1"/>
          </p:cNvSpPr>
          <p:nvPr>
            <p:ph type="title"/>
          </p:nvPr>
        </p:nvSpPr>
        <p:spPr/>
        <p:txBody>
          <a:bodyPr/>
          <a:lstStyle/>
          <a:p>
            <a:r>
              <a:rPr lang="en-US" dirty="0"/>
              <a:t>Top 10 </a:t>
            </a:r>
            <a:r>
              <a:rPr lang="en-US" dirty="0" err="1" smtClean="0"/>
              <a:t>supersectors</a:t>
            </a:r>
            <a:r>
              <a:rPr lang="en-US" dirty="0" smtClean="0"/>
              <a:t> </a:t>
            </a:r>
            <a:r>
              <a:rPr lang="en-US" dirty="0"/>
              <a:t>and countries by weight</a:t>
            </a:r>
            <a:endParaRPr lang="en-GB" dirty="0"/>
          </a:p>
        </p:txBody>
      </p:sp>
      <p:sp>
        <p:nvSpPr>
          <p:cNvPr id="11" name="Rectangle 2"/>
          <p:cNvSpPr>
            <a:spLocks noChangeArrowheads="1"/>
          </p:cNvSpPr>
          <p:nvPr/>
        </p:nvSpPr>
        <p:spPr bwMode="auto">
          <a:xfrm>
            <a:off x="365760"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a:solidFill>
                  <a:srgbClr val="FFFFFF"/>
                </a:solidFill>
              </a:rPr>
              <a:t>Supersector</a:t>
            </a:r>
            <a:r>
              <a:rPr lang="en-US" sz="1600" b="1" dirty="0">
                <a:solidFill>
                  <a:srgbClr val="FFFFFF"/>
                </a:solidFill>
              </a:rPr>
              <a:t>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sp>
        <p:nvSpPr>
          <p:cNvPr id="12" name="Rectangle 2"/>
          <p:cNvSpPr>
            <a:spLocks noChangeArrowheads="1"/>
          </p:cNvSpPr>
          <p:nvPr/>
        </p:nvSpPr>
        <p:spPr bwMode="auto">
          <a:xfrm>
            <a:off x="5152072"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2494506838"/>
              </p:ext>
            </p:extLst>
          </p:nvPr>
        </p:nvGraphicFramePr>
        <p:xfrm>
          <a:off x="299259" y="2222778"/>
          <a:ext cx="5120466" cy="3841789"/>
        </p:xfrm>
        <a:graphic>
          <a:graphicData uri="http://schemas.openxmlformats.org/drawingml/2006/chart">
            <c:chart xmlns:c="http://schemas.openxmlformats.org/drawingml/2006/chart" r:id="rId3"/>
          </a:graphicData>
        </a:graphic>
      </p:graphicFrame>
      <p:graphicFrame>
        <p:nvGraphicFramePr>
          <p:cNvPr id="14" name="Chart 13"/>
          <p:cNvGraphicFramePr/>
          <p:nvPr>
            <p:extLst>
              <p:ext uri="{D42A27DB-BD31-4B8C-83A1-F6EECF244321}">
                <p14:modId xmlns:p14="http://schemas.microsoft.com/office/powerpoint/2010/main" val="3236360485"/>
              </p:ext>
            </p:extLst>
          </p:nvPr>
        </p:nvGraphicFramePr>
        <p:xfrm>
          <a:off x="4800600" y="2222778"/>
          <a:ext cx="4891866" cy="3841789"/>
        </p:xfrm>
        <a:graphic>
          <a:graphicData uri="http://schemas.openxmlformats.org/drawingml/2006/chart">
            <c:chart xmlns:c="http://schemas.openxmlformats.org/drawingml/2006/chart" r:id="rId4"/>
          </a:graphicData>
        </a:graphic>
      </p:graphicFrame>
      <p:sp>
        <p:nvSpPr>
          <p:cNvPr id="8" name="Rectangle 6"/>
          <p:cNvSpPr>
            <a:spLocks noChangeArrowheads="1"/>
          </p:cNvSpPr>
          <p:nvPr/>
        </p:nvSpPr>
        <p:spPr bwMode="auto">
          <a:xfrm>
            <a:off x="3570117" y="5857758"/>
            <a:ext cx="233850" cy="144463"/>
          </a:xfrm>
          <a:prstGeom prst="rect">
            <a:avLst/>
          </a:prstGeom>
          <a:solidFill>
            <a:schemeClr val="accent1"/>
          </a:solidFill>
          <a:ln w="9525" algn="ctr">
            <a:noFill/>
            <a:miter lim="800000"/>
            <a:headEnd/>
            <a:tailEnd/>
          </a:ln>
        </p:spPr>
        <p:txBody>
          <a:bodyPr wrap="none" lIns="365760" tIns="0" rIns="0" bIns="0" anchor="ctr"/>
          <a:lstStyle/>
          <a:p>
            <a:r>
              <a:rPr lang="en-US" sz="1000"/>
              <a:t>STOXX® Global Select Dividend 100 
(USD Gross Return) </a:t>
            </a:r>
          </a:p>
        </p:txBody>
      </p:sp>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656398" y="6331744"/>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pPr>
            <a:r>
              <a:rPr lang="en-US" sz="1000" dirty="0" smtClean="0">
                <a:solidFill>
                  <a:schemeClr val="tx2"/>
                </a:solidFill>
              </a:rPr>
              <a:t>1) STOXX</a:t>
            </a:r>
            <a:r>
              <a:rPr lang="en-US" sz="1000" dirty="0" smtClean="0">
                <a:solidFill>
                  <a:srgbClr val="AFAFAF"/>
                </a:solidFill>
              </a:rPr>
              <a:t> </a:t>
            </a:r>
            <a:r>
              <a:rPr lang="en-US" sz="1000" dirty="0">
                <a:solidFill>
                  <a:srgbClr val="AFAFAF"/>
                </a:solidFill>
              </a:rPr>
              <a:t>data</a:t>
            </a:r>
            <a:r>
              <a:rPr lang="en-US" sz="1000" dirty="0">
                <a:solidFill>
                  <a:schemeClr val="accent5"/>
                </a:solidFill>
              </a:rPr>
              <a:t> </a:t>
            </a:r>
            <a:r>
              <a:rPr lang="en-US" sz="1000" dirty="0">
                <a:solidFill>
                  <a:srgbClr val="AFAFAF"/>
                </a:solidFill>
              </a:rPr>
              <a:t>as of </a:t>
            </a:r>
            <a:r>
              <a:rPr lang="en-US" sz="1000" dirty="0" smtClean="0">
                <a:solidFill>
                  <a:srgbClr val="AFAFAF"/>
                </a:solidFill>
              </a:rPr>
              <a:t>CUTOFFDATE</a:t>
            </a:r>
          </a:p>
        </p:txBody>
      </p:sp>
      <p:sp>
        <p:nvSpPr>
          <p:cNvPr id="10" name="Title 1"/>
          <p:cNvSpPr>
            <a:spLocks noGrp="1"/>
          </p:cNvSpPr>
          <p:nvPr>
            <p:ph type="title"/>
          </p:nvPr>
        </p:nvSpPr>
        <p:spPr/>
        <p:txBody>
          <a:bodyPr/>
          <a:lstStyle/>
          <a:p>
            <a:r>
              <a:rPr lang="en-US" dirty="0"/>
              <a:t>Top 10 </a:t>
            </a:r>
            <a:r>
              <a:rPr lang="en-US" dirty="0" err="1" smtClean="0"/>
              <a:t>supersectors</a:t>
            </a:r>
            <a:r>
              <a:rPr lang="en-US" dirty="0" smtClean="0"/>
              <a:t> </a:t>
            </a:r>
            <a:r>
              <a:rPr lang="en-US" dirty="0"/>
              <a:t>and countries by weight</a:t>
            </a:r>
            <a:endParaRPr lang="en-GB" dirty="0"/>
          </a:p>
        </p:txBody>
      </p:sp>
      <p:sp>
        <p:nvSpPr>
          <p:cNvPr id="11" name="Rectangle 2"/>
          <p:cNvSpPr>
            <a:spLocks noChangeArrowheads="1"/>
          </p:cNvSpPr>
          <p:nvPr/>
        </p:nvSpPr>
        <p:spPr bwMode="auto">
          <a:xfrm>
            <a:off x="365760"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a:solidFill>
                  <a:srgbClr val="FFFFFF"/>
                </a:solidFill>
              </a:rPr>
              <a:t>Supersector</a:t>
            </a:r>
            <a:r>
              <a:rPr lang="en-US" sz="1600" b="1" dirty="0">
                <a:solidFill>
                  <a:srgbClr val="FFFFFF"/>
                </a:solidFill>
              </a:rPr>
              <a:t>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 xmlns:p14="http://schemas.microsoft.com/office/powerpoint/2010/main" val="376311170"/>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6"/>
          <p:cNvSpPr>
            <a:spLocks noChangeArrowheads="1"/>
          </p:cNvSpPr>
          <p:nvPr/>
        </p:nvSpPr>
        <p:spPr bwMode="auto">
          <a:xfrm>
            <a:off x="3570117" y="5857758"/>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Tree>
    <p:extLst>
      <p:ext uri="{BB962C8B-B14F-4D97-AF65-F5344CB8AC3E}">
        <p14:creationId xmlns="" xmlns:p14="http://schemas.microsoft.com/office/powerpoint/2010/main" val="12369635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656398" y="6331744"/>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pPr>
            <a:r>
              <a:rPr lang="en-US" sz="1000" dirty="0" smtClean="0">
                <a:solidFill>
                  <a:schemeClr val="tx2"/>
                </a:solidFill>
              </a:rPr>
              <a:t>1) STOXX</a:t>
            </a:r>
            <a:r>
              <a:rPr lang="en-US" sz="1000" dirty="0" smtClean="0">
                <a:solidFill>
                  <a:srgbClr val="AFAFAF"/>
                </a:solidFill>
              </a:rPr>
              <a:t> </a:t>
            </a:r>
            <a:r>
              <a:rPr lang="en-US" sz="1000" dirty="0">
                <a:solidFill>
                  <a:srgbClr val="AFAFAF"/>
                </a:solidFill>
              </a:rPr>
              <a:t>data</a:t>
            </a:r>
            <a:r>
              <a:rPr lang="en-US" sz="1000" dirty="0">
                <a:solidFill>
                  <a:schemeClr val="accent5"/>
                </a:solidFill>
              </a:rPr>
              <a:t> </a:t>
            </a:r>
            <a:r>
              <a:rPr lang="en-US" sz="1000" dirty="0">
                <a:solidFill>
                  <a:srgbClr val="AFAFAF"/>
                </a:solidFill>
              </a:rPr>
              <a:t>as of </a:t>
            </a:r>
            <a:r>
              <a:rPr lang="en-US" sz="1000" dirty="0" smtClean="0">
                <a:solidFill>
                  <a:srgbClr val="AFAFAF"/>
                </a:solidFill>
              </a:rPr>
              <a:t>CUTOFFDATE</a:t>
            </a:r>
          </a:p>
        </p:txBody>
      </p:sp>
      <p:sp>
        <p:nvSpPr>
          <p:cNvPr id="10" name="Title 1"/>
          <p:cNvSpPr>
            <a:spLocks noGrp="1"/>
          </p:cNvSpPr>
          <p:nvPr>
            <p:ph type="title"/>
          </p:nvPr>
        </p:nvSpPr>
        <p:spPr/>
        <p:txBody>
          <a:bodyPr/>
          <a:lstStyle/>
          <a:p>
            <a:r>
              <a:rPr lang="en-US" dirty="0"/>
              <a:t>Top 10 </a:t>
            </a:r>
            <a:r>
              <a:rPr lang="en-US" dirty="0" err="1" smtClean="0"/>
              <a:t>supersectors</a:t>
            </a:r>
            <a:r>
              <a:rPr lang="en-US" dirty="0" smtClean="0"/>
              <a:t> </a:t>
            </a:r>
            <a:r>
              <a:rPr lang="en-US" dirty="0"/>
              <a:t>and countries by weight</a:t>
            </a:r>
            <a:endParaRPr lang="en-GB" dirty="0"/>
          </a:p>
        </p:txBody>
      </p:sp>
      <p:sp>
        <p:nvSpPr>
          <p:cNvPr id="12" name="Rectangle 2"/>
          <p:cNvSpPr>
            <a:spLocks noChangeArrowheads="1"/>
          </p:cNvSpPr>
          <p:nvPr/>
        </p:nvSpPr>
        <p:spPr bwMode="auto">
          <a:xfrm>
            <a:off x="5152072" y="1838381"/>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4" name="Chart 13"/>
          <p:cNvGraphicFramePr/>
          <p:nvPr>
            <p:extLst>
              <p:ext uri="{D42A27DB-BD31-4B8C-83A1-F6EECF244321}">
                <p14:modId xmlns="" xmlns:p14="http://schemas.microsoft.com/office/powerpoint/2010/main" val="4096379927"/>
              </p:ext>
            </p:extLst>
          </p:nvPr>
        </p:nvGraphicFramePr>
        <p:xfrm>
          <a:off x="4800600" y="2222778"/>
          <a:ext cx="4891866" cy="3841789"/>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6"/>
          <p:cNvSpPr>
            <a:spLocks noChangeArrowheads="1"/>
          </p:cNvSpPr>
          <p:nvPr/>
        </p:nvSpPr>
        <p:spPr bwMode="auto">
          <a:xfrm>
            <a:off x="3570117" y="5857758"/>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Tree>
    <p:extLst>
      <p:ext uri="{BB962C8B-B14F-4D97-AF65-F5344CB8AC3E}">
        <p14:creationId xmlns="" xmlns:p14="http://schemas.microsoft.com/office/powerpoint/2010/main" val="38554351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sp>
        <p:nvSpPr>
          <p:cNvPr id="9" name="Text Box 150"/>
          <p:cNvSpPr txBox="1">
            <a:spLocks noChangeArrowheads="1"/>
          </p:cNvSpPr>
          <p:nvPr/>
        </p:nvSpPr>
        <p:spPr bwMode="auto">
          <a:xfrm>
            <a:off x="1656397" y="6331744"/>
            <a:ext cx="7589520" cy="365760"/>
          </a:xfrm>
          <a:prstGeom prst="rect">
            <a:avLst/>
          </a:prstGeom>
          <a:noFill/>
          <a:ln w="9525">
            <a:noFill/>
            <a:miter lim="800000"/>
            <a:headEnd/>
            <a:tailEnd/>
          </a:ln>
        </p:spPr>
        <p:txBody>
          <a:bodyPr lIns="0" tIns="0" rIns="0" bIns="0" anchor="t" anchorCtr="0">
            <a:noAutofit/>
          </a:bodyPr>
          <a:lstStyle/>
          <a:p>
            <a:r>
              <a:rPr lang="en-US" sz="1000">
                <a:solidFill>
                  <a:srgbClr val="AFAFAF"/>
                </a:solidFill>
              </a:rPr>
              <a:t>1) STOXX data as of Aug. 31, 2015</a:t>
            </a:r>
          </a:p>
        </p:txBody>
      </p:sp>
      <p:graphicFrame>
        <p:nvGraphicFramePr>
          <p:cNvPr id="5" name="Group 62"/>
          <p:cNvGraphicFramePr>
            <a:graphicFrameLocks noGrp="1" noChangeAspect="1"/>
          </p:cNvGraphicFramePr>
          <p:nvPr>
            <p:custDataLst>
              <p:tags r:id="rId1"/>
            </p:custDataLst>
            <p:extLst>
              <p:ext uri="{D42A27DB-BD31-4B8C-83A1-F6EECF244321}">
                <p14:modId xmlns:p14="http://schemas.microsoft.com/office/powerpoint/2010/main" val="4060652664"/>
              </p:ext>
            </p:extLst>
          </p:nvPr>
        </p:nvGraphicFramePr>
        <p:xfrm>
          <a:off x="354134" y="1835356"/>
          <a:ext cx="9371491" cy="3996311"/>
        </p:xfrm>
        <a:graphic>
          <a:graphicData uri="http://schemas.openxmlformats.org/drawingml/2006/table">
            <a:tbl>
              <a:tblPr>
                <a:tableStyleId>{616DA210-FB5B-4158-B5E0-FEB733F419BA}</a:tableStyleId>
              </a:tblPr>
              <a:tblGrid>
                <a:gridCol w="2560516"/>
                <a:gridCol w="2438400"/>
                <a:gridCol w="1295400"/>
                <a:gridCol w="1781175"/>
                <a:gridCol w="1296000"/>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err="1"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b="true" sz="1400">
                          <a:solidFill>
                            <a:srgbClr val="FFFFFF"/>
                          </a:solidFill>
                        </a:rPr>
                        <a:t>Market cap USD bn</a:t>
                      </a: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 %</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indent="635" marL="1270"/>
                      <a:r>
                        <a:rPr lang="en-US" sz="1200">
                          <a:solidFill>
                            <a:srgbClr val="000000"/>
                          </a:solidFill>
                        </a:rPr>
                        <a:t>SAINSBURY (J)</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Retai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5.3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87</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indent="635" marL="1270"/>
                      <a:r>
                        <a:rPr lang="en-US" sz="1200">
                          <a:solidFill>
                            <a:srgbClr val="000000"/>
                          </a:solidFill>
                        </a:rPr>
                        <a:t>SCOTTISH &amp; SOUTHERN ENERGY</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Ut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2.3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1.75</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indent="635" marL="1270"/>
                      <a:r>
                        <a:rPr lang="en-US" sz="1200">
                          <a:solidFill>
                            <a:srgbClr val="000000"/>
                          </a:solidFill>
                        </a:rPr>
                        <a:t>AMLIN</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0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1200">
                          <a:solidFill>
                            <a:srgbClr val="000000"/>
                          </a:solidFill>
                        </a:rPr>
                        <a:t>1.66</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Ascendas Real Estate Investmen</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Real Esta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S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2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9</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Insurance Australia Group Ltd.</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AU</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8.4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6</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CARILLION</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dustrial Goods &amp; Servic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2.2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4</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SUNCORP GROUP LTD.</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Financial Servic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AU</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1.7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2</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ZURICH INSURANCE GROUP</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Insuranc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CH</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41.3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51</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ROYAL DUTCH SHELL B</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Oil &amp; Ga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GB</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64.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46</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indent="635" marL="1270"/>
                      <a:r>
                        <a:rPr lang="en-US" sz="1200">
                          <a:solidFill>
                            <a:srgbClr val="000000"/>
                          </a:solidFill>
                        </a:rPr>
                        <a:t>CAPITALAND MALL TRUST MGMT</a:t>
                      </a:r>
                    </a:p>
                  </a:txBody>
                  <a:tcPr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Real Esta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SG</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3.1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solidFill>
                            <a:srgbClr val="000000"/>
                          </a:solidFill>
                        </a:rPr>
                        <a:t>1.44</a:t>
                      </a:r>
                    </a:p>
                  </a:txBody>
                  <a:tcPr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BE9D9B12-FD00-4E50-AA49-7B878F6E0271}"/>
</file>

<file path=customXml/itemProps2.xml><?xml version="1.0" encoding="utf-8"?>
<ds:datastoreItem xmlns:ds="http://schemas.openxmlformats.org/officeDocument/2006/customXml" ds:itemID="{3F67EE26-F7FC-48CF-8F03-A3B6600F26E0}"/>
</file>

<file path=customXml/itemProps3.xml><?xml version="1.0" encoding="utf-8"?>
<ds:datastoreItem xmlns:ds="http://schemas.openxmlformats.org/officeDocument/2006/customXml" ds:itemID="{1251C66A-0BAC-483F-B7CA-1FB132AFBDBD}"/>
</file>

<file path=docProps/app.xml><?xml version="1.0" encoding="utf-8"?>
<Properties xmlns="http://schemas.openxmlformats.org/officeDocument/2006/extended-properties" xmlns:vt="http://schemas.openxmlformats.org/officeDocument/2006/docPropsVTypes">
  <Template>STOXXPresentations2.0</Template>
  <TotalTime>2358</TotalTime>
  <Words>622</Words>
  <Application>Microsoft Office PowerPoint</Application>
  <PresentationFormat>A4 Paper (210x297 mm)</PresentationFormat>
  <Paragraphs>177</Paragraphs>
  <Slides>9</Slides>
  <Notes>3</Notes>
  <HiddenSlides>0</HiddenSlides>
  <MMClips>0</MMClips>
  <ScaleCrop>false</ScaleCrop>
  <HeadingPairs>
    <vt:vector size="4" baseType="variant">
      <vt:variant>
        <vt:lpstr>Theme</vt:lpstr>
      </vt:variant>
      <vt:variant>
        <vt:i4>3</vt:i4>
      </vt:variant>
      <vt:variant>
        <vt:lpstr>Slide Titles</vt:lpstr>
      </vt:variant>
      <vt:variant>
        <vt:i4>9</vt:i4>
      </vt:variant>
    </vt:vector>
  </HeadingPairs>
  <TitlesOfParts>
    <vt:vector size="12" baseType="lpstr">
      <vt:lpstr>STOXXEmbeddedTheme</vt:lpstr>
      <vt:lpstr>Template STOXX Presentations 2.0.</vt:lpstr>
      <vt:lpstr>STOXX_ESG_ProductSlides</vt:lpstr>
      <vt:lpstr>Risk and return overview</vt:lpstr>
      <vt:lpstr>Risk and return overview</vt:lpstr>
      <vt:lpstr>Index fundamental characteristics and key figures</vt:lpstr>
      <vt:lpstr>Index fundamental characteristics and key figures</vt:lpstr>
      <vt:lpstr>Index fundamental characteristics and key figures</vt:lpstr>
      <vt:lpstr>Top 10 supersectors and countries by weight</vt:lpstr>
      <vt:lpstr>Top 10 supersectors and countries by weight</vt:lpstr>
      <vt:lpstr>Top 10 supersectors and countries by weight</vt:lpstr>
      <vt:lpstr>Top 10 components by weight</vt:lpstr>
    </vt:vector>
  </TitlesOfParts>
  <Company>SIX</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Rajapandian Venugopal</cp:lastModifiedBy>
  <cp:revision>333</cp:revision>
  <dcterms:created xsi:type="dcterms:W3CDTF">2014-05-26T13:36:56Z</dcterms:created>
  <dcterms:modified xsi:type="dcterms:W3CDTF">2015-09-01T07:5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